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92" r:id="rId3"/>
    <p:sldMasterId id="2147483708" r:id="rId4"/>
    <p:sldMasterId id="2147483724" r:id="rId5"/>
    <p:sldMasterId id="2147483740" r:id="rId6"/>
    <p:sldMasterId id="2147483747" r:id="rId7"/>
  </p:sldMasterIdLst>
  <p:notesMasterIdLst>
    <p:notesMasterId r:id="rId15"/>
  </p:notesMasterIdLst>
  <p:sldIdLst>
    <p:sldId id="256" r:id="rId8"/>
    <p:sldId id="284" r:id="rId9"/>
    <p:sldId id="290" r:id="rId10"/>
    <p:sldId id="293" r:id="rId11"/>
    <p:sldId id="291" r:id="rId12"/>
    <p:sldId id="294" r:id="rId13"/>
    <p:sldId id="269" r:id="rId14"/>
  </p:sldIdLst>
  <p:sldSz cx="9144000" cy="5715000" type="screen16x10"/>
  <p:notesSz cx="9144000" cy="6858000"/>
  <p:defaultTextStyle>
    <a:defPPr>
      <a:defRPr lang="en-US"/>
    </a:defPPr>
    <a:lvl1pPr marL="0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57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13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570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427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283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140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997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854" algn="l" defTabSz="68571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D45EC2-B8BE-4C99-A45C-9247DC6CB2F9}">
          <p14:sldIdLst>
            <p14:sldId id="256"/>
            <p14:sldId id="284"/>
            <p14:sldId id="290"/>
            <p14:sldId id="293"/>
            <p14:sldId id="291"/>
            <p14:sldId id="294"/>
            <p14:sldId id="269"/>
          </p14:sldIdLst>
        </p14:section>
        <p14:section name="Untitled Section" id="{ABE05287-7E2D-4FBC-A203-C8016308C3F9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103" autoAdjust="0"/>
    <p:restoredTop sz="93899" autoAdjust="0"/>
  </p:normalViewPr>
  <p:slideViewPr>
    <p:cSldViewPr snapToGrid="0">
      <p:cViewPr varScale="1">
        <p:scale>
          <a:sx n="86" d="100"/>
          <a:sy n="86" d="100"/>
        </p:scale>
        <p:origin x="70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390A482-8DA1-4DB0-87E6-DA9A717D9E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B241F2-6B30-4136-8674-C63EA463201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8FD5B0-3E30-49E2-8F6A-F2C2649EDB58}" type="datetimeFigureOut">
              <a:rPr lang="en-GB" smtClean="0"/>
              <a:t>05/01/2019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0A6D875-A483-4C4E-8356-37D1CD98092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720975" y="857250"/>
            <a:ext cx="370205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EE8B1A9-2E97-4EBE-B5D9-C4C9A6382D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9D7257-5CD4-486F-A4B9-FCB1F325F1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3FEB0D-CB02-441B-8090-52A789DF52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BB4148-903D-49CE-A9EB-23B5523090B9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74F6DE-9A54-47F8-A7FD-640D45479F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522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11" Type="http://schemas.openxmlformats.org/officeDocument/2006/relationships/image" Target="../media/image1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11" Type="http://schemas.openxmlformats.org/officeDocument/2006/relationships/image" Target="../media/image1.jpeg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11" Type="http://schemas.openxmlformats.org/officeDocument/2006/relationships/image" Target="../media/image1.jpeg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5.png"/><Relationship Id="rId4" Type="http://schemas.openxmlformats.org/officeDocument/2006/relationships/tags" Target="../tags/tag15.xml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7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11" Type="http://schemas.openxmlformats.org/officeDocument/2006/relationships/image" Target="../media/image1.jpeg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13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jpe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11" Type="http://schemas.openxmlformats.org/officeDocument/2006/relationships/image" Target="../media/image1.jpeg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5.png"/><Relationship Id="rId4" Type="http://schemas.openxmlformats.org/officeDocument/2006/relationships/tags" Target="../tags/tag27.xml"/><Relationship Id="rId9" Type="http://schemas.openxmlformats.org/officeDocument/2006/relationships/image" Target="../media/image15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6.png"/><Relationship Id="rId4" Type="http://schemas.openxmlformats.org/officeDocument/2006/relationships/image" Target="../media/image7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6" descr="X:\_Klanten\UPC\Rebranding\bron\A4 en widescreen\cover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0344" y="6640"/>
            <a:ext cx="5783657" cy="57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" name="think-cell Slide" r:id="rId7" imgW="333" imgH="333" progId="">
                  <p:embed/>
                </p:oleObj>
              </mc:Choice>
              <mc:Fallback>
                <p:oleObj name="think-cell Slide" r:id="rId7" imgW="333" imgH="333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417" y="1618311"/>
            <a:ext cx="8477169" cy="779005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 wrap="square" lIns="107987" tIns="71991" rIns="71991" bIns="143982" anchor="ctr">
            <a:spAutoFit/>
          </a:bodyPr>
          <a:lstStyle>
            <a:lvl1pPr algn="l">
              <a:lnSpc>
                <a:spcPct val="90000"/>
              </a:lnSpc>
              <a:defRPr lang="en-GB" sz="4050" b="0" kern="1200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350234" y="3337722"/>
            <a:ext cx="4134304" cy="498016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72000" tIns="18000" bIns="1800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 sz="1500" b="0" baseline="0"/>
            </a:lvl1pPr>
          </a:lstStyle>
          <a:p>
            <a:pPr lvl="0"/>
            <a:r>
              <a:rPr lang="en-US" dirty="0"/>
              <a:t>Subtitle (optional)</a:t>
            </a:r>
            <a:br>
              <a:rPr lang="en-US" dirty="0"/>
            </a:br>
            <a:r>
              <a:rPr lang="en-US" dirty="0"/>
              <a:t>Name, Month Day Year, Place</a:t>
            </a:r>
          </a:p>
        </p:txBody>
      </p:sp>
      <p:pic>
        <p:nvPicPr>
          <p:cNvPr id="11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7749" y="4747907"/>
            <a:ext cx="1395047" cy="7818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05048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4713507" y="1289998"/>
            <a:ext cx="4096800" cy="399438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32308" y="1290001"/>
            <a:ext cx="4088736" cy="3994381"/>
          </a:xfrm>
        </p:spPr>
        <p:txBody>
          <a:bodyPr/>
          <a:lstStyle>
            <a:lvl5pPr marL="495300" indent="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517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297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496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664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08" y="1290000"/>
            <a:ext cx="8478000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>
            <a:normAutofit/>
          </a:bodyPr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932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9000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838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8138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32311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4721887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179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6" descr="X:\_Klanten\UPC\Rebranding\bron\A4 en widescreen\cover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0344" y="6640"/>
            <a:ext cx="5783657" cy="57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" name="think-cell Slide" r:id="rId7" imgW="333" imgH="333" progId="">
                  <p:embed/>
                </p:oleObj>
              </mc:Choice>
              <mc:Fallback>
                <p:oleObj name="think-cell Slide" r:id="rId7" imgW="333" imgH="333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417" y="1618311"/>
            <a:ext cx="8477169" cy="779005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 vert="horz" wrap="square" lIns="107987" tIns="71991" rIns="71991" bIns="143982" rtlCol="0" anchor="ctr" anchorCtr="0">
            <a:spAutoFit/>
          </a:bodyPr>
          <a:lstStyle>
            <a:lvl1pPr>
              <a:lnSpc>
                <a:spcPct val="90000"/>
              </a:lnSpc>
              <a:defRPr lang="en-GB" sz="4050" b="0" spc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350232" y="3337722"/>
            <a:ext cx="4189964" cy="498016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72000" tIns="18000" bIns="1800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225"/>
              </a:spcAft>
              <a:buClrTx/>
              <a:buSzTx/>
              <a:buFontTx/>
              <a:buNone/>
              <a:tabLst/>
              <a:defRPr sz="1500" b="0" baseline="0"/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(optional)</a:t>
            </a:r>
            <a:br>
              <a:rPr lang="en-US" dirty="0"/>
            </a:br>
            <a:r>
              <a:rPr lang="en-US" dirty="0"/>
              <a:t>Name, Month Day Year, Place</a:t>
            </a:r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7749" y="4747907"/>
            <a:ext cx="1395047" cy="7818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22656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900"/>
              </a:spcBef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362097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900"/>
              </a:spcBef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04729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04191"/>
            <a:ext cx="6018527" cy="531345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3000" y="2485613"/>
            <a:ext cx="8478000" cy="7437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107987" tIns="71991" rIns="71991" bIns="109094" rtlCol="0" anchor="ctr" anchorCtr="1">
            <a:spAutoFit/>
          </a:bodyPr>
          <a:lstStyle>
            <a:lvl1pPr algn="ctr" defTabSz="6857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5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2942367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489347" indent="-135731">
              <a:defRPr lang="en-US" smtClean="0"/>
            </a:lvl4pPr>
            <a:lvl5pPr marL="482204" indent="13097"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91147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038"/>
            <a:ext cx="6463323" cy="5715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4" name="think-cell Slide" r:id="rId5" imgW="333" imgH="333" progId="">
                  <p:embed/>
                </p:oleObj>
              </mc:Choice>
              <mc:Fallback>
                <p:oleObj name="think-cell Slide" r:id="rId5" imgW="333" imgH="333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5" y="599999"/>
            <a:ext cx="8478000" cy="966198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 vert="horz" lIns="215972" tIns="143982" rIns="215972" bIns="215972" rtlCol="0">
            <a:spAutoFit/>
          </a:bodyPr>
          <a:lstStyle>
            <a:lvl1pPr marL="0" indent="0">
              <a:spcBef>
                <a:spcPts val="900"/>
              </a:spcBef>
              <a:buNone/>
              <a:defRPr lang="en-US" b="0" smtClean="0">
                <a:solidFill>
                  <a:schemeClr val="bg1"/>
                </a:solidFill>
              </a:defRPr>
            </a:lvl1pPr>
          </a:lstStyle>
          <a:p>
            <a:pPr marL="257175" lvl="0" indent="-257175">
              <a:buClr>
                <a:schemeClr val="bg2"/>
              </a:buClr>
              <a:tabLst/>
            </a:pPr>
            <a:r>
              <a:rPr lang="en-US" dirty="0"/>
              <a:t>Click to edit Subtitle</a:t>
            </a:r>
          </a:p>
          <a:p>
            <a:pPr marL="257175" lvl="0" indent="-257175">
              <a:buClr>
                <a:schemeClr val="bg2"/>
              </a:buClr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7850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900"/>
              </a:spcBef>
              <a:defRPr lang="en-US" dirty="0" smtClean="0"/>
            </a:lvl1pPr>
            <a:lvl2pPr>
              <a:defRPr lang="en-US" dirty="0" smtClean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14784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900"/>
              </a:spcBef>
              <a:defRPr lang="en-US" dirty="0" smtClean="0"/>
            </a:lvl1pPr>
            <a:lvl2pPr>
              <a:defRPr lang="en-US" dirty="0" smtClean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599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551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45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232" y="1200000"/>
            <a:ext cx="7517477" cy="3061229"/>
          </a:xfrm>
        </p:spPr>
        <p:txBody>
          <a:bodyPr wrap="square" anchor="ctr" anchorCtr="0">
            <a:noAutofit/>
          </a:bodyPr>
          <a:lstStyle>
            <a:lvl1pPr>
              <a:lnSpc>
                <a:spcPct val="90000"/>
              </a:lnSpc>
              <a:defRPr sz="405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0231" y="4112817"/>
            <a:ext cx="7516800" cy="369332"/>
          </a:xfrm>
        </p:spPr>
        <p:txBody>
          <a:bodyPr vert="horz" lIns="0" tIns="0" rIns="0" bIns="0" rtlCol="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2400" b="0" i="0" baseline="0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quote</a:t>
            </a:r>
          </a:p>
        </p:txBody>
      </p:sp>
    </p:spTree>
    <p:extLst>
      <p:ext uri="{BB962C8B-B14F-4D97-AF65-F5344CB8AC3E}">
        <p14:creationId xmlns:p14="http://schemas.microsoft.com/office/powerpoint/2010/main" val="25069479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4713507" y="1289998"/>
            <a:ext cx="4096800" cy="399438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32308" y="1290001"/>
            <a:ext cx="4088736" cy="3994381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926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9894879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496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78712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08" y="1290000"/>
            <a:ext cx="8478000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>
            <a:normAutofit/>
          </a:bodyPr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5208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9000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838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913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489347" indent="-135731">
              <a:defRPr lang="en-US" smtClean="0"/>
            </a:lvl4pPr>
            <a:lvl5pPr marL="482204" indent="13097"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445929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32311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4721887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29946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6" descr="X:\_Klanten\UPC\Rebranding\bron\A4 en widescreen\cover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0344" y="6640"/>
            <a:ext cx="5783657" cy="57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8" name="think-cell Slide" r:id="rId7" imgW="333" imgH="333" progId="">
                  <p:embed/>
                </p:oleObj>
              </mc:Choice>
              <mc:Fallback>
                <p:oleObj name="think-cell Slide" r:id="rId7" imgW="333" imgH="333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417" y="1618311"/>
            <a:ext cx="8477169" cy="779005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 wrap="square" lIns="107987" tIns="71991" rIns="71991" bIns="143982" anchor="ctr">
            <a:spAutoFit/>
          </a:bodyPr>
          <a:lstStyle>
            <a:lvl1pPr algn="l">
              <a:lnSpc>
                <a:spcPct val="90000"/>
              </a:lnSpc>
              <a:defRPr lang="en-GB" sz="4050" b="0" kern="1200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350233" y="3337722"/>
            <a:ext cx="4182011" cy="498016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72000" tIns="18000" bIns="1800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 sz="1500" b="0" baseline="0"/>
            </a:lvl1pPr>
          </a:lstStyle>
          <a:p>
            <a:pPr lvl="0"/>
            <a:r>
              <a:rPr lang="en-US" dirty="0"/>
              <a:t>Subtitle (optional)</a:t>
            </a:r>
            <a:br>
              <a:rPr lang="en-US" dirty="0"/>
            </a:br>
            <a:r>
              <a:rPr lang="en-US" dirty="0"/>
              <a:t>Name, Month Day Year, Place</a:t>
            </a:r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7749" y="4747907"/>
            <a:ext cx="1395047" cy="7818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88826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927684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562265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04191"/>
            <a:ext cx="6018527" cy="531345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2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3000" y="2485613"/>
            <a:ext cx="8478000" cy="7437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107987" tIns="71991" rIns="71991" bIns="109094" rtlCol="0" anchor="ctr" anchorCtr="1">
            <a:spAutoFit/>
          </a:bodyPr>
          <a:lstStyle>
            <a:lvl1pPr algn="ctr" defTabSz="6857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5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646044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038"/>
            <a:ext cx="6463323" cy="5715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6" name="think-cell Slide" r:id="rId5" imgW="333" imgH="333" progId="">
                  <p:embed/>
                </p:oleObj>
              </mc:Choice>
              <mc:Fallback>
                <p:oleObj name="think-cell Slide" r:id="rId5" imgW="333" imgH="333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5" y="599999"/>
            <a:ext cx="8478000" cy="966198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 vert="horz"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bg1"/>
                </a:solidFill>
              </a:defRPr>
            </a:lvl1pPr>
          </a:lstStyle>
          <a:p>
            <a:pPr marL="257175" lvl="0" indent="-257175">
              <a:buClr>
                <a:schemeClr val="bg2"/>
              </a:buClr>
              <a:tabLst/>
            </a:pPr>
            <a:r>
              <a:rPr lang="en-US" dirty="0"/>
              <a:t>Click to edit Subtitle</a:t>
            </a:r>
          </a:p>
          <a:p>
            <a:pPr marL="257175" lvl="0" indent="-257175">
              <a:buClr>
                <a:schemeClr val="bg2"/>
              </a:buClr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2974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495300" indent="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14784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592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3940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6319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232" y="1200000"/>
            <a:ext cx="7517477" cy="3061229"/>
          </a:xfrm>
        </p:spPr>
        <p:txBody>
          <a:bodyPr wrap="square" anchor="ctr" anchorCtr="0">
            <a:noAutofit/>
          </a:bodyPr>
          <a:lstStyle>
            <a:lvl1pPr>
              <a:lnSpc>
                <a:spcPct val="90000"/>
              </a:lnSpc>
              <a:defRPr sz="4050" b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0231" y="4112817"/>
            <a:ext cx="7516800" cy="369332"/>
          </a:xfrm>
        </p:spPr>
        <p:txBody>
          <a:bodyPr vert="horz" lIns="0" tIns="0" rIns="0" bIns="0" rtlCol="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2400" b="0" i="0" baseline="0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quote</a:t>
            </a:r>
          </a:p>
        </p:txBody>
      </p:sp>
    </p:spTree>
    <p:extLst>
      <p:ext uri="{BB962C8B-B14F-4D97-AF65-F5344CB8AC3E}">
        <p14:creationId xmlns:p14="http://schemas.microsoft.com/office/powerpoint/2010/main" val="3195588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04191"/>
            <a:ext cx="6018527" cy="531345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8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3000" y="2485613"/>
            <a:ext cx="8478000" cy="7437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107987" tIns="71991" rIns="71991" bIns="109094" rtlCol="0" anchor="ctr" anchorCtr="1">
            <a:spAutoFit/>
          </a:bodyPr>
          <a:lstStyle>
            <a:lvl1pPr algn="ctr" defTabSz="6857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5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0160667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4713507" y="1289998"/>
            <a:ext cx="4096800" cy="399438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32308" y="1290001"/>
            <a:ext cx="4088736" cy="39943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8875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61769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496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36635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08" y="1290000"/>
            <a:ext cx="8478000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>
            <a:normAutofit/>
          </a:bodyPr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4076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9000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838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7622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32311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4721887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9037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6" descr="X:\_Klanten\UPC\Rebranding\bron\A4 en widescreen\cover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0344" y="6640"/>
            <a:ext cx="5783657" cy="57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0" name="think-cell Slide" r:id="rId7" imgW="333" imgH="333" progId="">
                  <p:embed/>
                </p:oleObj>
              </mc:Choice>
              <mc:Fallback>
                <p:oleObj name="think-cell Slide" r:id="rId7" imgW="333" imgH="333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417" y="1618311"/>
            <a:ext cx="8477169" cy="779005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 vert="horz" wrap="square" lIns="107987" tIns="71991" rIns="71991" bIns="143982" rtlCol="0" anchor="ctr" anchorCtr="0">
            <a:spAutoFit/>
          </a:bodyPr>
          <a:lstStyle>
            <a:lvl1pPr>
              <a:lnSpc>
                <a:spcPct val="90000"/>
              </a:lnSpc>
              <a:defRPr lang="en-GB" sz="4050" b="0" spc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350233" y="3337722"/>
            <a:ext cx="4182011" cy="498016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72000" tIns="18000" bIns="1800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225"/>
              </a:spcAft>
              <a:buClrTx/>
              <a:buSzTx/>
              <a:buFontTx/>
              <a:buNone/>
              <a:tabLst/>
              <a:defRPr sz="1500" b="0" baseline="0"/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(optional)</a:t>
            </a:r>
            <a:br>
              <a:rPr lang="en-US" dirty="0"/>
            </a:br>
            <a:r>
              <a:rPr lang="en-US" dirty="0"/>
              <a:t>Name, Month Day Year, Place</a:t>
            </a:r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7749" y="4747907"/>
            <a:ext cx="1395047" cy="7818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06507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80123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676680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04191"/>
            <a:ext cx="6018527" cy="531345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4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3000" y="2485613"/>
            <a:ext cx="8478000" cy="7437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107987" tIns="71991" rIns="71991" bIns="109094" rtlCol="0" anchor="ctr" anchorCtr="1">
            <a:spAutoFit/>
          </a:bodyPr>
          <a:lstStyle>
            <a:lvl1pPr algn="ctr" defTabSz="6857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5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720254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038"/>
            <a:ext cx="6463323" cy="5715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2" name="think-cell Slide" r:id="rId5" imgW="333" imgH="333" progId="">
                  <p:embed/>
                </p:oleObj>
              </mc:Choice>
              <mc:Fallback>
                <p:oleObj name="think-cell Slide" r:id="rId5" imgW="333" imgH="333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5" y="599999"/>
            <a:ext cx="8478000" cy="966198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 vert="horz"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bg1"/>
                </a:solidFill>
              </a:defRPr>
            </a:lvl1pPr>
          </a:lstStyle>
          <a:p>
            <a:pPr marL="257175" lvl="0" indent="-257175">
              <a:buClr>
                <a:schemeClr val="bg2"/>
              </a:buClr>
              <a:tabLst/>
            </a:pPr>
            <a:r>
              <a:rPr lang="en-US" dirty="0"/>
              <a:t>Click to edit Subtitle</a:t>
            </a:r>
          </a:p>
          <a:p>
            <a:pPr marL="257175" lvl="0" indent="-257175">
              <a:buClr>
                <a:schemeClr val="bg2"/>
              </a:buClr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6505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038"/>
            <a:ext cx="6463323" cy="5715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8" name="think-cell Slide" r:id="rId5" imgW="333" imgH="333" progId="">
                  <p:embed/>
                </p:oleObj>
              </mc:Choice>
              <mc:Fallback>
                <p:oleObj name="think-cell Slide" r:id="rId5" imgW="333" imgH="333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5" y="599999"/>
            <a:ext cx="8478000" cy="966198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 vert="horz"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bg1"/>
                </a:solidFill>
              </a:defRPr>
            </a:lvl1pPr>
          </a:lstStyle>
          <a:p>
            <a:pPr marL="257175" lvl="0" indent="-257175">
              <a:buClr>
                <a:schemeClr val="bg2"/>
              </a:buClr>
              <a:tabLst/>
            </a:pPr>
            <a:r>
              <a:rPr lang="en-US" dirty="0"/>
              <a:t>Click to edit Subtitle</a:t>
            </a:r>
          </a:p>
          <a:p>
            <a:pPr marL="257175" lvl="0" indent="-257175">
              <a:buClr>
                <a:schemeClr val="bg2"/>
              </a:buClr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193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14784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14703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62376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4757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232" y="1200000"/>
            <a:ext cx="7517477" cy="3061229"/>
          </a:xfrm>
        </p:spPr>
        <p:txBody>
          <a:bodyPr wrap="square" anchor="ctr" anchorCtr="0">
            <a:noAutofit/>
          </a:bodyPr>
          <a:lstStyle>
            <a:lvl1pPr>
              <a:lnSpc>
                <a:spcPct val="90000"/>
              </a:lnSpc>
              <a:defRPr sz="4050" b="0" baseline="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0231" y="4112817"/>
            <a:ext cx="7516800" cy="369332"/>
          </a:xfrm>
        </p:spPr>
        <p:txBody>
          <a:bodyPr vert="horz" lIns="0" tIns="0" rIns="0" bIns="0" rtlCol="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2400" b="0" i="0" baseline="0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quote</a:t>
            </a:r>
          </a:p>
        </p:txBody>
      </p:sp>
    </p:spTree>
    <p:extLst>
      <p:ext uri="{BB962C8B-B14F-4D97-AF65-F5344CB8AC3E}">
        <p14:creationId xmlns:p14="http://schemas.microsoft.com/office/powerpoint/2010/main" val="27080388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4713507" y="1289998"/>
            <a:ext cx="4096800" cy="399438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32308" y="1290001"/>
            <a:ext cx="4088736" cy="39943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18652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0438826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496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3158814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08" y="1290000"/>
            <a:ext cx="8478000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>
            <a:normAutofit/>
          </a:bodyPr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87680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9000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838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5348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495300" indent="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14784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495300" indent="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619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32311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4721887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9777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6" descr="X:\_Klanten\UPC\Rebranding\bron\A4 en widescreen\cover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0344" y="6640"/>
            <a:ext cx="5783657" cy="570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2" name="think-cell Slide" r:id="rId7" imgW="333" imgH="333" progId="">
                  <p:embed/>
                </p:oleObj>
              </mc:Choice>
              <mc:Fallback>
                <p:oleObj name="think-cell Slide" r:id="rId7" imgW="333" imgH="333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417" y="1618311"/>
            <a:ext cx="8477169" cy="779005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 vert="horz" wrap="square" lIns="107987" tIns="71991" rIns="71991" bIns="143982" rtlCol="0" anchor="ctr" anchorCtr="0">
            <a:spAutoFit/>
          </a:bodyPr>
          <a:lstStyle>
            <a:lvl1pPr>
              <a:lnSpc>
                <a:spcPct val="90000"/>
              </a:lnSpc>
              <a:defRPr lang="en-GB" sz="4050" b="0" spc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350232" y="3337722"/>
            <a:ext cx="4189964" cy="498016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72000" tIns="18000" bIns="18000">
            <a:spAutoFit/>
          </a:bodyPr>
          <a:lstStyle>
            <a:lvl1pPr marL="0" indent="0">
              <a:buFontTx/>
              <a:buNone/>
              <a:defRPr sz="1500" b="0" baseline="0"/>
            </a:lvl1pPr>
          </a:lstStyle>
          <a:p>
            <a:pPr lvl="0"/>
            <a:r>
              <a:rPr lang="en-US" dirty="0"/>
              <a:t>Subtitle (optional)</a:t>
            </a:r>
            <a:br>
              <a:rPr lang="en-US" dirty="0"/>
            </a:br>
            <a:r>
              <a:rPr lang="en-US" dirty="0"/>
              <a:t>Name, Month Day Year, Place</a:t>
            </a:r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7749" y="4747907"/>
            <a:ext cx="1395047" cy="7818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26598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58992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Unbullet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84780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071682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04191"/>
            <a:ext cx="6018527" cy="531345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6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3000" y="2485613"/>
            <a:ext cx="8478000" cy="7437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107987" tIns="71991" rIns="71991" bIns="109094" rtlCol="0" anchor="ctr" anchorCtr="1">
            <a:spAutoFit/>
          </a:bodyPr>
          <a:lstStyle>
            <a:lvl1pPr algn="ctr" defTabSz="6857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5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9300350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7038"/>
            <a:ext cx="6463323" cy="5715000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32305" y="599999"/>
            <a:ext cx="8478000" cy="966198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 vert="horz"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bg1"/>
                </a:solidFill>
              </a:defRPr>
            </a:lvl1pPr>
          </a:lstStyle>
          <a:p>
            <a:pPr marL="257175" lvl="0" indent="-257175">
              <a:buClr>
                <a:schemeClr val="bg2"/>
              </a:buClr>
              <a:tabLst/>
            </a:pPr>
            <a:r>
              <a:rPr lang="en-US" dirty="0"/>
              <a:t>Click to edit Subtitle</a:t>
            </a:r>
          </a:p>
          <a:p>
            <a:pPr marL="257175" lvl="0" indent="-257175">
              <a:buClr>
                <a:schemeClr val="bg2"/>
              </a:buClr>
              <a:tabLst/>
            </a:pPr>
            <a:endParaRPr lang="en-US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32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0" name="think-cell Slide" r:id="rId6" imgW="333" imgH="333" progId="">
                  <p:embed/>
                </p:oleObj>
              </mc:Choice>
              <mc:Fallback>
                <p:oleObj name="think-cell Slide" r:id="rId6" imgW="333" imgH="333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327"/>
                        <a:ext cx="1465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95361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307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14784" y="1290000"/>
            <a:ext cx="4089600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7687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7181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23170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232" y="1200000"/>
            <a:ext cx="7517477" cy="3061229"/>
          </a:xfrm>
        </p:spPr>
        <p:txBody>
          <a:bodyPr wrap="square" anchor="ctr" anchorCtr="0">
            <a:noAutofit/>
          </a:bodyPr>
          <a:lstStyle>
            <a:lvl1pPr>
              <a:lnSpc>
                <a:spcPct val="90000"/>
              </a:lnSpc>
              <a:defRPr sz="4050" b="0" baseline="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0231" y="4112817"/>
            <a:ext cx="7516800" cy="369332"/>
          </a:xfrm>
        </p:spPr>
        <p:txBody>
          <a:bodyPr vert="horz" lIns="0" tIns="0" rIns="0" bIns="0" rtlCol="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2400" b="0" i="0" baseline="0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quote</a:t>
            </a:r>
          </a:p>
        </p:txBody>
      </p:sp>
    </p:spTree>
    <p:extLst>
      <p:ext uri="{BB962C8B-B14F-4D97-AF65-F5344CB8AC3E}">
        <p14:creationId xmlns:p14="http://schemas.microsoft.com/office/powerpoint/2010/main" val="3925395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659039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4713507" y="1289998"/>
            <a:ext cx="4096800" cy="3994382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32308" y="1290001"/>
            <a:ext cx="4088736" cy="3994381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Subtitle</a:t>
            </a:r>
          </a:p>
          <a:p>
            <a:pPr lvl="0">
              <a:spcBef>
                <a:spcPts val="0"/>
              </a:spcBef>
            </a:pPr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7575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248681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496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135551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08" y="1290000"/>
            <a:ext cx="8478000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>
            <a:normAutofit/>
          </a:bodyPr>
          <a:lstStyle>
            <a:lvl1pPr marL="0" indent="0">
              <a:buNone/>
              <a:defRPr sz="105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19399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9000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8380"/>
            <a:ext cx="4088423" cy="3996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1194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32311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4721887" y="1289999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32311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4721887" y="3406380"/>
            <a:ext cx="4088423" cy="1878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13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Font typeface="Arial" pitchFamily="34" charset="0"/>
              <a:buNone/>
              <a:defRPr lang="en-GB" sz="10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2308" y="752727"/>
            <a:ext cx="7200001" cy="300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1" smtClean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47063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3958167"/>
            <a:ext cx="9144000" cy="1100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038600" y="4127500"/>
            <a:ext cx="0" cy="76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3" descr="D:\VJ GDrive\Work\Prodapt About\Prodapt Brand Guidelines\prodapt_logo_red_with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4185007"/>
            <a:ext cx="2590800" cy="61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91002" y="3986922"/>
            <a:ext cx="4547913" cy="507999"/>
          </a:xfrm>
        </p:spPr>
        <p:txBody>
          <a:bodyPr/>
          <a:lstStyle>
            <a:lvl1pPr algn="l">
              <a:defRPr lang="en-US" sz="2400" b="1" i="0" kern="1200" dirty="0">
                <a:solidFill>
                  <a:srgbClr val="29397D"/>
                </a:solidFill>
                <a:latin typeface="Corbel" panose="020B0503020204020204" pitchFamily="34" charset="0"/>
                <a:ea typeface="+mj-ea"/>
                <a:cs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191000" y="4550834"/>
            <a:ext cx="4572000" cy="423333"/>
          </a:xfrm>
        </p:spPr>
        <p:txBody>
          <a:bodyPr>
            <a:noAutofit/>
          </a:bodyPr>
          <a:lstStyle>
            <a:lvl1pPr marL="342892" indent="-342892">
              <a:buNone/>
              <a:defRPr lang="en-US" sz="1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5pPr>
          </a:lstStyle>
          <a:p>
            <a:pPr marL="0" lvl="0" indent="0"/>
            <a:r>
              <a:rPr lang="en-US"/>
              <a:t>Edit Master text styles</a:t>
            </a:r>
          </a:p>
        </p:txBody>
      </p:sp>
      <p:sp>
        <p:nvSpPr>
          <p:cNvPr id="8" name="Right Triangle 7"/>
          <p:cNvSpPr/>
          <p:nvPr/>
        </p:nvSpPr>
        <p:spPr>
          <a:xfrm rot="10800000">
            <a:off x="8445103" y="144831"/>
            <a:ext cx="548640" cy="6096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203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0" userDrawn="1">
          <p15:clr>
            <a:srgbClr val="FBAE40"/>
          </p15:clr>
        </p15:guide>
        <p15:guide id="2" pos="4248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0"/>
            <a:ext cx="8607224" cy="730823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dirty="0">
                <a:latin typeface="Corbel" panose="020B05030202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0166"/>
            <a:ext cx="8610600" cy="4402667"/>
          </a:xfrm>
        </p:spPr>
        <p:txBody>
          <a:bodyPr>
            <a:normAutofit/>
          </a:bodyPr>
          <a:lstStyle>
            <a:lvl1pPr marL="342892" indent="-342892">
              <a:buFont typeface="Arial" pitchFamily="34" charset="0"/>
              <a:buChar char="•"/>
              <a:defRPr sz="2000">
                <a:latin typeface="Corbel" panose="020B0503020204020204" pitchFamily="34" charset="0"/>
              </a:defRPr>
            </a:lvl1pPr>
            <a:lvl2pPr marL="742931" indent="-285743">
              <a:buFont typeface="Arial" pitchFamily="34" charset="0"/>
              <a:buChar char="•"/>
              <a:defRPr sz="1800">
                <a:latin typeface="Corbel" panose="020B0503020204020204" pitchFamily="34" charset="0"/>
              </a:defRPr>
            </a:lvl2pPr>
            <a:lvl3pPr marL="1142972" indent="-228594">
              <a:buFont typeface="Arial" pitchFamily="34" charset="0"/>
              <a:buChar char="•"/>
              <a:defRPr sz="1600">
                <a:latin typeface="Corbel" panose="020B0503020204020204" pitchFamily="34" charset="0"/>
              </a:defRPr>
            </a:lvl3pPr>
            <a:lvl4pPr marL="1600160" indent="-228594">
              <a:buFont typeface="Arial" pitchFamily="34" charset="0"/>
              <a:buChar char="•"/>
              <a:defRPr sz="1400">
                <a:latin typeface="Corbel" panose="020B0503020204020204" pitchFamily="34" charset="0"/>
              </a:defRPr>
            </a:lvl4pPr>
            <a:lvl5pPr marL="2057348" indent="-228594">
              <a:buFont typeface="Arial" pitchFamily="34" charset="0"/>
              <a:buChar char="•"/>
              <a:defRPr sz="140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572000" y="5589386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bg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1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80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52400" y="5530373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7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/>
        </p:nvSpPr>
        <p:spPr>
          <a:xfrm rot="10800000">
            <a:off x="8615970" y="148168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820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5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pic>
        <p:nvPicPr>
          <p:cNvPr id="12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80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52400" y="5530373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8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0168"/>
            <a:ext cx="4038600" cy="41949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dirty="0" smtClean="0">
                <a:latin typeface="Corbel" panose="020B0503020204020204" pitchFamily="34" charset="0"/>
              </a:defRPr>
            </a:lvl1pPr>
            <a:lvl2pPr>
              <a:defRPr lang="en-US" sz="1800" dirty="0" smtClean="0">
                <a:latin typeface="Corbel" panose="020B0503020204020204" pitchFamily="34" charset="0"/>
              </a:defRPr>
            </a:lvl2pPr>
            <a:lvl3pPr>
              <a:defRPr lang="en-US" sz="1600" dirty="0" smtClean="0">
                <a:latin typeface="Corbel" panose="020B0503020204020204" pitchFamily="34" charset="0"/>
              </a:defRPr>
            </a:lvl3pPr>
            <a:lvl4pPr>
              <a:defRPr lang="en-US" sz="1400" dirty="0" smtClean="0">
                <a:latin typeface="Corbel" panose="020B0503020204020204" pitchFamily="34" charset="0"/>
              </a:defRPr>
            </a:lvl4pPr>
            <a:lvl5pPr>
              <a:defRPr lang="en-US" sz="1400" dirty="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0168"/>
            <a:ext cx="4038600" cy="41949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dirty="0" smtClean="0">
                <a:latin typeface="Corbel" panose="020B0503020204020204" pitchFamily="34" charset="0"/>
              </a:defRPr>
            </a:lvl1pPr>
            <a:lvl2pPr>
              <a:defRPr lang="en-US" sz="1800" dirty="0" smtClean="0">
                <a:latin typeface="Corbel" panose="020B0503020204020204" pitchFamily="34" charset="0"/>
              </a:defRPr>
            </a:lvl2pPr>
            <a:lvl3pPr>
              <a:defRPr lang="en-US" sz="1600" dirty="0" smtClean="0">
                <a:latin typeface="Corbel" panose="020B0503020204020204" pitchFamily="34" charset="0"/>
              </a:defRPr>
            </a:lvl3pPr>
            <a:lvl4pPr>
              <a:defRPr lang="en-US" sz="1400" dirty="0" smtClean="0">
                <a:latin typeface="Corbel" panose="020B0503020204020204" pitchFamily="34" charset="0"/>
              </a:defRPr>
            </a:lvl4pPr>
            <a:lvl5pPr>
              <a:defRPr lang="en-US" sz="1400" dirty="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04801" y="14357"/>
            <a:ext cx="8370512" cy="716467"/>
          </a:xfrm>
        </p:spPr>
        <p:txBody>
          <a:bodyPr anchor="ctr" anchorCtr="0"/>
          <a:lstStyle>
            <a:lvl1pPr>
              <a:defRPr sz="2000" b="0" i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ight Triangle 10"/>
          <p:cNvSpPr/>
          <p:nvPr/>
        </p:nvSpPr>
        <p:spPr>
          <a:xfrm rot="10800000">
            <a:off x="8615970" y="148168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87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80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52400" y="5530373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2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4800" y="2"/>
            <a:ext cx="8610600" cy="730823"/>
          </a:xfrm>
        </p:spPr>
        <p:txBody>
          <a:bodyPr/>
          <a:lstStyle>
            <a:lvl1pPr>
              <a:defRPr sz="2000" b="0" i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sp>
        <p:nvSpPr>
          <p:cNvPr id="14" name="Right Triangle 13"/>
          <p:cNvSpPr/>
          <p:nvPr/>
        </p:nvSpPr>
        <p:spPr>
          <a:xfrm rot="10800000">
            <a:off x="8615970" y="148168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6638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21774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958168"/>
            <a:ext cx="9144000" cy="7690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929902" y="4052330"/>
            <a:ext cx="0" cy="5725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D:\VJ GDrive\Work\Prodapt About\Prodapt Brand Guidelines\prodapt_logo_red_with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4134606"/>
            <a:ext cx="1828800" cy="43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4191002" y="4078358"/>
            <a:ext cx="4547913" cy="507999"/>
          </a:xfrm>
        </p:spPr>
        <p:txBody>
          <a:bodyPr/>
          <a:lstStyle>
            <a:lvl1pPr algn="l">
              <a:defRPr lang="en-US" sz="1800" b="1" i="0" kern="1200" dirty="0">
                <a:solidFill>
                  <a:srgbClr val="29397D"/>
                </a:solidFill>
                <a:latin typeface="Corbel" panose="020B0503020204020204" pitchFamily="34" charset="0"/>
                <a:ea typeface="+mj-ea"/>
                <a:cs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ight Triangle 8"/>
          <p:cNvSpPr/>
          <p:nvPr/>
        </p:nvSpPr>
        <p:spPr>
          <a:xfrm rot="10800000">
            <a:off x="8445103" y="144831"/>
            <a:ext cx="548640" cy="6096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77151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402" y="-406"/>
            <a:ext cx="6604488" cy="371557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329" y="1887917"/>
            <a:ext cx="722272" cy="148080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6" name="Rectangle 55"/>
          <p:cNvSpPr/>
          <p:nvPr/>
        </p:nvSpPr>
        <p:spPr>
          <a:xfrm>
            <a:off x="5643430" y="1841909"/>
            <a:ext cx="53412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800" dirty="0">
                <a:latin typeface="Corbel" panose="020B0503020204020204" pitchFamily="34" charset="0"/>
              </a:rPr>
              <a:t>Chennai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360" y="2779243"/>
            <a:ext cx="722272" cy="148080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9" name="Rectangle 58"/>
          <p:cNvSpPr/>
          <p:nvPr/>
        </p:nvSpPr>
        <p:spPr>
          <a:xfrm>
            <a:off x="4617325" y="2726622"/>
            <a:ext cx="7793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800" dirty="0">
                <a:latin typeface="Corbel" panose="020B0503020204020204" pitchFamily="34" charset="0"/>
              </a:rPr>
              <a:t>Johannesburg</a:t>
            </a: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2" y="1333500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1" name="Rectangle 60"/>
          <p:cNvSpPr/>
          <p:nvPr/>
        </p:nvSpPr>
        <p:spPr>
          <a:xfrm>
            <a:off x="2905369" y="1281839"/>
            <a:ext cx="60144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New York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140" y="1635530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3" name="Rectangle 62"/>
          <p:cNvSpPr/>
          <p:nvPr/>
        </p:nvSpPr>
        <p:spPr>
          <a:xfrm>
            <a:off x="2617661" y="1583869"/>
            <a:ext cx="44274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Dallas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231" y="1498895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5" name="Rectangle 64"/>
          <p:cNvSpPr/>
          <p:nvPr/>
        </p:nvSpPr>
        <p:spPr>
          <a:xfrm>
            <a:off x="1562101" y="1441799"/>
            <a:ext cx="5325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Tualatin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934" y="475220"/>
            <a:ext cx="716353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7" name="Rectangle 66"/>
          <p:cNvSpPr/>
          <p:nvPr/>
        </p:nvSpPr>
        <p:spPr>
          <a:xfrm>
            <a:off x="4254586" y="415949"/>
            <a:ext cx="68640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Amsterdam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72" name="Picture 2" descr="D:\work\Laptop\office purpose\prodapt_Logos\prodapt_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58252" y="1771224"/>
            <a:ext cx="1614410" cy="493609"/>
          </a:xfrm>
          <a:prstGeom prst="rect">
            <a:avLst/>
          </a:prstGeom>
          <a:noFill/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988" y="902467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74" name="Rectangle 73"/>
          <p:cNvSpPr/>
          <p:nvPr/>
        </p:nvSpPr>
        <p:spPr>
          <a:xfrm>
            <a:off x="3700067" y="850805"/>
            <a:ext cx="5100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London</a:t>
            </a:r>
            <a:endParaRPr lang="en-IN" sz="800" dirty="0">
              <a:latin typeface="Corbel" panose="020B050302020402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7162802" y="1330194"/>
            <a:ext cx="12113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  <a:latin typeface="Corbel" pitchFamily="34" charset="0"/>
              </a:rPr>
              <a:t>THANK</a:t>
            </a:r>
            <a:r>
              <a:rPr lang="en-IN" sz="1400" b="1" baseline="0" dirty="0">
                <a:solidFill>
                  <a:schemeClr val="bg1"/>
                </a:solidFill>
                <a:latin typeface="Corbel" pitchFamily="34" charset="0"/>
              </a:rPr>
              <a:t> YOU!</a:t>
            </a:r>
            <a:endParaRPr lang="en-IN" sz="1400" b="1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442204" y="4115927"/>
            <a:ext cx="16764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900" b="1" dirty="0">
                <a:solidFill>
                  <a:schemeClr val="bg1"/>
                </a:solidFill>
                <a:latin typeface="Corbel" pitchFamily="34" charset="0"/>
              </a:rPr>
              <a:t>Prodapt Solutions Pvt. Ltd. </a:t>
            </a:r>
            <a:r>
              <a:rPr lang="fr-FR" sz="800" b="1" dirty="0">
                <a:solidFill>
                  <a:schemeClr val="bg1"/>
                </a:solidFill>
                <a:latin typeface="Corbel" pitchFamily="34" charset="0"/>
              </a:rPr>
              <a:t>Chennai: </a:t>
            </a:r>
            <a:endParaRPr lang="en-IN" sz="800" b="1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442204" y="3840672"/>
            <a:ext cx="587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  <a:latin typeface="Corbel" pitchFamily="34" charset="0"/>
              </a:rPr>
              <a:t>INDIA</a:t>
            </a:r>
            <a:endParaRPr lang="en-IN" sz="1200" b="1" dirty="0">
              <a:latin typeface="Corbe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7442206" y="4454434"/>
            <a:ext cx="13501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1. Prince Infocity II, OMR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91 44 4903 30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91 44 4903 3010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442204" y="4982365"/>
            <a:ext cx="1676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2. “Chennai One” SEZ, 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Thoraipakkam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91 44 4230 23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91 44 4903 3010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24551" y="3843020"/>
            <a:ext cx="12246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SOUTH AFRICA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373" y="3840892"/>
            <a:ext cx="4812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USA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8322" y="4116146"/>
            <a:ext cx="23622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North America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Tualatin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7565 SW Mohawk St.,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 503 636 3737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1 503 885 0850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8322" y="4780113"/>
            <a:ext cx="18366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Dallas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222 W. Las Colinas Blvd., Irving 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 972 201 9009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1 972 501 9019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8324" y="5298593"/>
            <a:ext cx="19111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New York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1 Bridge Street, Irvington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</a:t>
            </a:r>
            <a:r>
              <a:rPr lang="en-IN" sz="800" baseline="0" dirty="0">
                <a:solidFill>
                  <a:schemeClr val="bg1"/>
                </a:solidFill>
                <a:latin typeface="Corbel" pitchFamily="34" charset="0"/>
              </a:rPr>
              <a:t> 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646 403 8158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939235" y="4118277"/>
            <a:ext cx="1261667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SA (Pty) Ltd.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Johannesburg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No. 3, 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3rd Avenue, Rivonia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27 (0) 11 259 40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27 (0) 11 259 4111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805373" y="3840892"/>
            <a:ext cx="15712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THE NETHERLAND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805372" y="4116146"/>
            <a:ext cx="198582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900" b="1" dirty="0">
                <a:solidFill>
                  <a:schemeClr val="bg1"/>
                </a:solidFill>
                <a:latin typeface="Corbel" pitchFamily="34" charset="0"/>
              </a:rPr>
              <a:t>Prodapt Solutions Europe</a:t>
            </a:r>
          </a:p>
          <a:p>
            <a:r>
              <a:rPr lang="nl-NL" sz="800" b="1" dirty="0">
                <a:solidFill>
                  <a:schemeClr val="bg1"/>
                </a:solidFill>
                <a:latin typeface="Corbel" pitchFamily="34" charset="0"/>
              </a:rPr>
              <a:t>Amsterdam</a:t>
            </a: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: Zekeringstraat 17A, 1014 BM</a:t>
            </a:r>
            <a:br>
              <a:rPr lang="nl-NL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Ph: +31 (0) 20 4895711</a:t>
            </a:r>
            <a:endParaRPr lang="en-IN" sz="800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805372" y="4730998"/>
            <a:ext cx="1752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900" b="1" dirty="0">
                <a:solidFill>
                  <a:schemeClr val="bg1"/>
                </a:solidFill>
                <a:latin typeface="Corbel" pitchFamily="34" charset="0"/>
              </a:rPr>
              <a:t>Prodapt Consulting BV</a:t>
            </a:r>
          </a:p>
          <a:p>
            <a:r>
              <a:rPr lang="nl-NL" sz="800" b="1" dirty="0">
                <a:solidFill>
                  <a:schemeClr val="bg1"/>
                </a:solidFill>
                <a:latin typeface="Corbel" pitchFamily="34" charset="0"/>
              </a:rPr>
              <a:t>Rijswijk</a:t>
            </a: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: De Bruyn Kopsstraat 14</a:t>
            </a:r>
            <a:br>
              <a:rPr lang="nl-NL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Ph: +31 (0) 70 4140722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31 70 3030047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983649" y="3846077"/>
            <a:ext cx="3898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  <a:latin typeface="Corbel" pitchFamily="34" charset="0"/>
              </a:rPr>
              <a:t>UK</a:t>
            </a:r>
            <a:endParaRPr lang="en-IN" sz="1200" b="1" dirty="0">
              <a:latin typeface="Corbel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984941" y="4112522"/>
            <a:ext cx="182506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Solutions Europe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London:</a:t>
            </a:r>
            <a:r>
              <a:rPr lang="en-IN" sz="800" b="1" baseline="0" dirty="0">
                <a:solidFill>
                  <a:schemeClr val="bg1"/>
                </a:solidFill>
                <a:latin typeface="Corbel" pitchFamily="34" charset="0"/>
              </a:rPr>
              <a:t> </a:t>
            </a:r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Devonshire House, 60 Goswell Road, EC1M 7AD</a:t>
            </a:r>
          </a:p>
          <a:p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Ph: +44 (0) 11 8900 1068</a:t>
            </a:r>
          </a:p>
          <a:p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Fax: +44 (0) 11 8900 1069</a:t>
            </a:r>
            <a:endParaRPr lang="nl-NL" sz="800" b="0" dirty="0">
              <a:solidFill>
                <a:schemeClr val="bg1"/>
              </a:solidFill>
              <a:latin typeface="Corbel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776" y="2027472"/>
            <a:ext cx="673462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0" name="Rectangle 49"/>
          <p:cNvSpPr/>
          <p:nvPr/>
        </p:nvSpPr>
        <p:spPr>
          <a:xfrm>
            <a:off x="5267327" y="1973576"/>
            <a:ext cx="61907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Bengaluru</a:t>
            </a:r>
            <a:endParaRPr lang="en-IN" sz="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2232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0" userDrawn="1">
          <p15:clr>
            <a:srgbClr val="FBAE40"/>
          </p15:clr>
        </p15:guide>
        <p15:guide id="2" pos="972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3958167"/>
            <a:ext cx="9144000" cy="1100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038600" y="4127500"/>
            <a:ext cx="0" cy="76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3" descr="D:\VJ GDrive\Work\Prodapt About\Prodapt Brand Guidelines\prodapt_logo_red_with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4185007"/>
            <a:ext cx="2590800" cy="61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91001" y="3986921"/>
            <a:ext cx="4547913" cy="507999"/>
          </a:xfrm>
        </p:spPr>
        <p:txBody>
          <a:bodyPr/>
          <a:lstStyle>
            <a:lvl1pPr algn="l">
              <a:defRPr lang="en-US" sz="2400" b="1" i="0" kern="1200" dirty="0">
                <a:solidFill>
                  <a:srgbClr val="29397D"/>
                </a:solidFill>
                <a:latin typeface="Corbel" panose="020B0503020204020204" pitchFamily="34" charset="0"/>
                <a:ea typeface="+mj-ea"/>
                <a:cs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191000" y="4550834"/>
            <a:ext cx="4572000" cy="423333"/>
          </a:xfrm>
        </p:spPr>
        <p:txBody>
          <a:bodyPr>
            <a:noAutofit/>
          </a:bodyPr>
          <a:lstStyle>
            <a:lvl1pPr marL="342892" indent="-342892">
              <a:buNone/>
              <a:defRPr lang="en-US" sz="1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  <a:latin typeface="Corbel" pitchFamily="34" charset="0"/>
              </a:defRPr>
            </a:lvl5pPr>
          </a:lstStyle>
          <a:p>
            <a:pPr marL="0" lvl="0" indent="0"/>
            <a:r>
              <a:rPr lang="en-US"/>
              <a:t>Edit Master text styles</a:t>
            </a:r>
          </a:p>
        </p:txBody>
      </p:sp>
      <p:sp>
        <p:nvSpPr>
          <p:cNvPr id="8" name="Right Triangle 7"/>
          <p:cNvSpPr/>
          <p:nvPr/>
        </p:nvSpPr>
        <p:spPr>
          <a:xfrm rot="10800000">
            <a:off x="8445103" y="144831"/>
            <a:ext cx="548640" cy="6096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2366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4">
          <p15:clr>
            <a:srgbClr val="FBAE40"/>
          </p15:clr>
        </p15:guide>
        <p15:guide id="2" pos="566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-1"/>
            <a:ext cx="8607224" cy="730823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dirty="0">
                <a:latin typeface="Corbel" panose="020B05030202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0166"/>
            <a:ext cx="8610600" cy="4402667"/>
          </a:xfrm>
        </p:spPr>
        <p:txBody>
          <a:bodyPr>
            <a:normAutofit/>
          </a:bodyPr>
          <a:lstStyle>
            <a:lvl1pPr marL="342892" indent="-342892">
              <a:buFont typeface="Arial" pitchFamily="34" charset="0"/>
              <a:buChar char="•"/>
              <a:defRPr sz="2000">
                <a:latin typeface="Corbel" panose="020B0503020204020204" pitchFamily="34" charset="0"/>
              </a:defRPr>
            </a:lvl1pPr>
            <a:lvl2pPr marL="742931" indent="-285743">
              <a:buFont typeface="Arial" pitchFamily="34" charset="0"/>
              <a:buChar char="•"/>
              <a:defRPr sz="1800">
                <a:latin typeface="Corbel" panose="020B0503020204020204" pitchFamily="34" charset="0"/>
              </a:defRPr>
            </a:lvl2pPr>
            <a:lvl3pPr marL="1142972" indent="-228594">
              <a:buFont typeface="Arial" pitchFamily="34" charset="0"/>
              <a:buChar char="•"/>
              <a:defRPr sz="1600">
                <a:latin typeface="Corbel" panose="020B0503020204020204" pitchFamily="34" charset="0"/>
              </a:defRPr>
            </a:lvl3pPr>
            <a:lvl4pPr marL="1600160" indent="-228594">
              <a:buFont typeface="Arial" pitchFamily="34" charset="0"/>
              <a:buChar char="•"/>
              <a:defRPr sz="1400">
                <a:latin typeface="Corbel" panose="020B0503020204020204" pitchFamily="34" charset="0"/>
              </a:defRPr>
            </a:lvl4pPr>
            <a:lvl5pPr marL="2057348" indent="-228594">
              <a:buFont typeface="Arial" pitchFamily="34" charset="0"/>
              <a:buChar char="•"/>
              <a:defRPr sz="140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572000" y="5589385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bg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1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79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5132D5E-E62B-4780-B73B-292F2AAECA6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52400" y="5530372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7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/>
        </p:nvSpPr>
        <p:spPr>
          <a:xfrm rot="10800000">
            <a:off x="8615970" y="148167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2171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pic>
        <p:nvPicPr>
          <p:cNvPr id="12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79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5132D5E-E62B-4780-B73B-292F2AAECA66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52400" y="5530372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8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0168"/>
            <a:ext cx="4038600" cy="41949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dirty="0" smtClean="0">
                <a:latin typeface="Corbel" panose="020B0503020204020204" pitchFamily="34" charset="0"/>
              </a:defRPr>
            </a:lvl1pPr>
            <a:lvl2pPr>
              <a:defRPr lang="en-US" sz="1800" dirty="0" smtClean="0">
                <a:latin typeface="Corbel" panose="020B0503020204020204" pitchFamily="34" charset="0"/>
              </a:defRPr>
            </a:lvl2pPr>
            <a:lvl3pPr>
              <a:defRPr lang="en-US" sz="1600" dirty="0" smtClean="0">
                <a:latin typeface="Corbel" panose="020B0503020204020204" pitchFamily="34" charset="0"/>
              </a:defRPr>
            </a:lvl3pPr>
            <a:lvl4pPr>
              <a:defRPr lang="en-US" sz="1400" dirty="0" smtClean="0">
                <a:latin typeface="Corbel" panose="020B0503020204020204" pitchFamily="34" charset="0"/>
              </a:defRPr>
            </a:lvl4pPr>
            <a:lvl5pPr>
              <a:defRPr lang="en-US" sz="1400" dirty="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0168"/>
            <a:ext cx="4038600" cy="41949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dirty="0" smtClean="0">
                <a:latin typeface="Corbel" panose="020B0503020204020204" pitchFamily="34" charset="0"/>
              </a:defRPr>
            </a:lvl1pPr>
            <a:lvl2pPr>
              <a:defRPr lang="en-US" sz="1800" dirty="0" smtClean="0">
                <a:latin typeface="Corbel" panose="020B0503020204020204" pitchFamily="34" charset="0"/>
              </a:defRPr>
            </a:lvl2pPr>
            <a:lvl3pPr>
              <a:defRPr lang="en-US" sz="1600" dirty="0" smtClean="0">
                <a:latin typeface="Corbel" panose="020B0503020204020204" pitchFamily="34" charset="0"/>
              </a:defRPr>
            </a:lvl3pPr>
            <a:lvl4pPr>
              <a:defRPr lang="en-US" sz="1400" dirty="0" smtClean="0">
                <a:latin typeface="Corbel" panose="020B0503020204020204" pitchFamily="34" charset="0"/>
              </a:defRPr>
            </a:lvl4pPr>
            <a:lvl5pPr>
              <a:defRPr lang="en-US" sz="1400" dirty="0"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04801" y="14357"/>
            <a:ext cx="8370512" cy="716467"/>
          </a:xfrm>
        </p:spPr>
        <p:txBody>
          <a:bodyPr anchor="ctr" anchorCtr="0"/>
          <a:lstStyle>
            <a:lvl1pPr>
              <a:defRPr sz="2000" b="0" i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ight Triangle 10"/>
          <p:cNvSpPr/>
          <p:nvPr/>
        </p:nvSpPr>
        <p:spPr>
          <a:xfrm rot="10800000">
            <a:off x="8615970" y="148167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1435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D:\VJ GDrive\Work\Prodapt About\Prodapt Brand Guidelines\Prodapt_logo_white_without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779" y="5482168"/>
            <a:ext cx="767069" cy="28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77017" y="5533900"/>
            <a:ext cx="381000" cy="1596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fld id="{45132D5E-E62B-4780-B73B-292F2AAECA6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52400" y="5530372"/>
            <a:ext cx="1524000" cy="166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700" dirty="0">
                <a:solidFill>
                  <a:schemeClr val="tx1"/>
                </a:solidFill>
                <a:latin typeface="Corbel" pitchFamily="34" charset="0"/>
              </a:rPr>
              <a:t>Confidential &amp; Restricted</a:t>
            </a:r>
          </a:p>
        </p:txBody>
      </p:sp>
      <p:pic>
        <p:nvPicPr>
          <p:cNvPr id="12" name="Picture 2" descr="C:\Users\RAGHAV~1.MG\AppData\Local\Temp\Rar$DRa0.974\prodapt-logo-trans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35"/>
          <a:stretch/>
        </p:blipFill>
        <p:spPr bwMode="auto">
          <a:xfrm>
            <a:off x="8305801" y="5499568"/>
            <a:ext cx="606224" cy="19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4800" y="1"/>
            <a:ext cx="8610600" cy="730823"/>
          </a:xfrm>
        </p:spPr>
        <p:txBody>
          <a:bodyPr/>
          <a:lstStyle>
            <a:lvl1pPr>
              <a:defRPr sz="2000" b="0" i="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730823"/>
            <a:ext cx="9144000" cy="47097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sp>
        <p:nvSpPr>
          <p:cNvPr id="14" name="Right Triangle 13"/>
          <p:cNvSpPr/>
          <p:nvPr/>
        </p:nvSpPr>
        <p:spPr>
          <a:xfrm rot="10800000">
            <a:off x="8615970" y="148167"/>
            <a:ext cx="381600" cy="4240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6966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958167"/>
            <a:ext cx="9144000" cy="7690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Corbel" panose="020B0503020204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929902" y="4052329"/>
            <a:ext cx="0" cy="5725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D:\VJ GDrive\Work\Prodapt About\Prodapt Brand Guidelines\prodapt_logo_red_with pow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4134605"/>
            <a:ext cx="1828800" cy="43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4191001" y="4078358"/>
            <a:ext cx="4547913" cy="507999"/>
          </a:xfrm>
        </p:spPr>
        <p:txBody>
          <a:bodyPr/>
          <a:lstStyle>
            <a:lvl1pPr algn="l">
              <a:defRPr lang="en-US" sz="1800" b="1" i="0" kern="1200" dirty="0">
                <a:solidFill>
                  <a:srgbClr val="29397D"/>
                </a:solidFill>
                <a:latin typeface="Corbel" panose="020B0503020204020204" pitchFamily="34" charset="0"/>
                <a:ea typeface="+mj-ea"/>
                <a:cs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ight Triangle 8"/>
          <p:cNvSpPr/>
          <p:nvPr/>
        </p:nvSpPr>
        <p:spPr>
          <a:xfrm rot="10800000">
            <a:off x="8445103" y="144831"/>
            <a:ext cx="548640" cy="609600"/>
          </a:xfrm>
          <a:prstGeom prst="rtTriangle">
            <a:avLst/>
          </a:prstGeom>
          <a:solidFill>
            <a:srgbClr val="DD31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1532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402" y="-406"/>
            <a:ext cx="6604488" cy="371557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329" y="1887917"/>
            <a:ext cx="722272" cy="148080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6" name="Rectangle 55"/>
          <p:cNvSpPr/>
          <p:nvPr/>
        </p:nvSpPr>
        <p:spPr>
          <a:xfrm>
            <a:off x="5643429" y="1841909"/>
            <a:ext cx="53412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800" dirty="0">
                <a:latin typeface="Corbel" panose="020B0503020204020204" pitchFamily="34" charset="0"/>
              </a:rPr>
              <a:t>Chennai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360" y="2779243"/>
            <a:ext cx="722272" cy="148080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9" name="Rectangle 58"/>
          <p:cNvSpPr/>
          <p:nvPr/>
        </p:nvSpPr>
        <p:spPr>
          <a:xfrm>
            <a:off x="4617324" y="2726622"/>
            <a:ext cx="7793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800" dirty="0">
                <a:latin typeface="Corbel" panose="020B0503020204020204" pitchFamily="34" charset="0"/>
              </a:rPr>
              <a:t>Johannesburg</a:t>
            </a: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1" y="1333500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1" name="Rectangle 60"/>
          <p:cNvSpPr/>
          <p:nvPr/>
        </p:nvSpPr>
        <p:spPr>
          <a:xfrm>
            <a:off x="2905368" y="1281838"/>
            <a:ext cx="60144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New York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139" y="1635530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3" name="Rectangle 62"/>
          <p:cNvSpPr/>
          <p:nvPr/>
        </p:nvSpPr>
        <p:spPr>
          <a:xfrm>
            <a:off x="2617661" y="1583868"/>
            <a:ext cx="4427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Dallas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230" y="1498895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5" name="Rectangle 64"/>
          <p:cNvSpPr/>
          <p:nvPr/>
        </p:nvSpPr>
        <p:spPr>
          <a:xfrm>
            <a:off x="1562101" y="1441799"/>
            <a:ext cx="53251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Tualatin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933" y="475219"/>
            <a:ext cx="716353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67" name="Rectangle 66"/>
          <p:cNvSpPr/>
          <p:nvPr/>
        </p:nvSpPr>
        <p:spPr>
          <a:xfrm>
            <a:off x="4254586" y="415948"/>
            <a:ext cx="68640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Amsterdam</a:t>
            </a:r>
            <a:endParaRPr lang="en-IN" sz="800" dirty="0">
              <a:latin typeface="Corbel" panose="020B0503020204020204" pitchFamily="34" charset="0"/>
            </a:endParaRPr>
          </a:p>
        </p:txBody>
      </p:sp>
      <p:pic>
        <p:nvPicPr>
          <p:cNvPr id="72" name="Picture 2" descr="D:\work\Laptop\office purpose\prodapt_Logos\prodapt_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58252" y="1771225"/>
            <a:ext cx="1614410" cy="493609"/>
          </a:xfrm>
          <a:prstGeom prst="rect">
            <a:avLst/>
          </a:prstGeom>
          <a:noFill/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987" y="902466"/>
            <a:ext cx="663631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74" name="Rectangle 73"/>
          <p:cNvSpPr/>
          <p:nvPr/>
        </p:nvSpPr>
        <p:spPr>
          <a:xfrm>
            <a:off x="3700067" y="850804"/>
            <a:ext cx="5100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London</a:t>
            </a:r>
            <a:endParaRPr lang="en-IN" sz="800" dirty="0">
              <a:latin typeface="Corbel" panose="020B050302020402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7162801" y="1330193"/>
            <a:ext cx="12113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  <a:latin typeface="Corbel" pitchFamily="34" charset="0"/>
              </a:rPr>
              <a:t>THANK</a:t>
            </a:r>
            <a:r>
              <a:rPr lang="en-IN" sz="1400" b="1" baseline="0" dirty="0">
                <a:solidFill>
                  <a:schemeClr val="bg1"/>
                </a:solidFill>
                <a:latin typeface="Corbel" pitchFamily="34" charset="0"/>
              </a:rPr>
              <a:t> YOU!</a:t>
            </a:r>
            <a:endParaRPr lang="en-IN" sz="1400" b="1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442204" y="4115927"/>
            <a:ext cx="16764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900" b="1" dirty="0">
                <a:solidFill>
                  <a:schemeClr val="bg1"/>
                </a:solidFill>
                <a:latin typeface="Corbel" pitchFamily="34" charset="0"/>
              </a:rPr>
              <a:t>Prodapt Solutions Pvt. Ltd. </a:t>
            </a:r>
            <a:r>
              <a:rPr lang="fr-FR" sz="800" b="1" dirty="0">
                <a:solidFill>
                  <a:schemeClr val="bg1"/>
                </a:solidFill>
                <a:latin typeface="Corbel" pitchFamily="34" charset="0"/>
              </a:rPr>
              <a:t>Chennai: </a:t>
            </a:r>
            <a:endParaRPr lang="en-IN" sz="800" b="1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442204" y="3840670"/>
            <a:ext cx="587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  <a:latin typeface="Corbel" pitchFamily="34" charset="0"/>
              </a:rPr>
              <a:t>INDIA</a:t>
            </a:r>
            <a:endParaRPr lang="en-IN" sz="1200" b="1" dirty="0">
              <a:latin typeface="Corbe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7442205" y="4454433"/>
            <a:ext cx="13501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1. Prince Infocity II, OMR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91 44 4903 30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91 44 4903 3010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442204" y="4982364"/>
            <a:ext cx="1676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2. “Chennai One” SEZ, 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Thoraipakkam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91 44 4230 23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91 44 4903 3010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24551" y="3843020"/>
            <a:ext cx="12246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SOUTH AFRICA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373" y="3840890"/>
            <a:ext cx="4812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USA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8322" y="4116146"/>
            <a:ext cx="23622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North America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Tualatin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7565 SW Mohawk St.,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 503 636 3737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1 503 885 0850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8322" y="4780112"/>
            <a:ext cx="18366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Dallas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222 W. Las Colinas Blvd., Irving 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 972 201 9009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1 972 501 9019</a:t>
            </a:r>
          </a:p>
        </p:txBody>
      </p:sp>
      <p:sp>
        <p:nvSpPr>
          <p:cNvPr id="45" name="Rectangle 44"/>
          <p:cNvSpPr/>
          <p:nvPr/>
        </p:nvSpPr>
        <p:spPr>
          <a:xfrm>
            <a:off x="68323" y="5298594"/>
            <a:ext cx="19111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New York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1 Bridge Street, Irvington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1</a:t>
            </a:r>
            <a:r>
              <a:rPr lang="en-IN" sz="800" baseline="0" dirty="0">
                <a:solidFill>
                  <a:schemeClr val="bg1"/>
                </a:solidFill>
                <a:latin typeface="Corbel" pitchFamily="34" charset="0"/>
              </a:rPr>
              <a:t> 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646 403 8158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939234" y="4118276"/>
            <a:ext cx="1261667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SA (Pty) Ltd.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Johannesburg</a:t>
            </a: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: No. 3, 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3rd Avenue, Rivonia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Ph: +27 (0) 11 259 4000</a:t>
            </a:r>
            <a:br>
              <a:rPr lang="en-IN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27 (0) 11 259 4111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805373" y="3840890"/>
            <a:ext cx="15712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bg1"/>
                </a:solidFill>
                <a:latin typeface="Corbel" pitchFamily="34" charset="0"/>
              </a:rPr>
              <a:t>THE NETHERLAND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805372" y="4116146"/>
            <a:ext cx="198582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900" b="1" dirty="0">
                <a:solidFill>
                  <a:schemeClr val="bg1"/>
                </a:solidFill>
                <a:latin typeface="Corbel" pitchFamily="34" charset="0"/>
              </a:rPr>
              <a:t>Prodapt Solutions Europe</a:t>
            </a:r>
          </a:p>
          <a:p>
            <a:r>
              <a:rPr lang="nl-NL" sz="800" b="1" dirty="0">
                <a:solidFill>
                  <a:schemeClr val="bg1"/>
                </a:solidFill>
                <a:latin typeface="Corbel" pitchFamily="34" charset="0"/>
              </a:rPr>
              <a:t>Amsterdam</a:t>
            </a: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: Zekeringstraat 17A, 1014 BM</a:t>
            </a:r>
            <a:br>
              <a:rPr lang="nl-NL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Ph: +31 (0) 20 4895711</a:t>
            </a:r>
            <a:endParaRPr lang="en-IN" sz="800" dirty="0">
              <a:solidFill>
                <a:schemeClr val="bg1"/>
              </a:solidFill>
              <a:latin typeface="Corbel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805372" y="4730997"/>
            <a:ext cx="1752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900" b="1" dirty="0">
                <a:solidFill>
                  <a:schemeClr val="bg1"/>
                </a:solidFill>
                <a:latin typeface="Corbel" pitchFamily="34" charset="0"/>
              </a:rPr>
              <a:t>Prodapt Consulting BV</a:t>
            </a:r>
          </a:p>
          <a:p>
            <a:r>
              <a:rPr lang="nl-NL" sz="800" b="1" dirty="0">
                <a:solidFill>
                  <a:schemeClr val="bg1"/>
                </a:solidFill>
                <a:latin typeface="Corbel" pitchFamily="34" charset="0"/>
              </a:rPr>
              <a:t>Rijswijk</a:t>
            </a: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: De Bruyn Kopsstraat 14</a:t>
            </a:r>
            <a:br>
              <a:rPr lang="nl-NL" sz="800" dirty="0">
                <a:solidFill>
                  <a:schemeClr val="bg1"/>
                </a:solidFill>
                <a:latin typeface="Corbel" pitchFamily="34" charset="0"/>
              </a:rPr>
            </a:br>
            <a:r>
              <a:rPr lang="nl-NL" sz="800" dirty="0">
                <a:solidFill>
                  <a:schemeClr val="bg1"/>
                </a:solidFill>
                <a:latin typeface="Corbel" pitchFamily="34" charset="0"/>
              </a:rPr>
              <a:t>Ph: +31 (0) 70 4140722</a:t>
            </a:r>
          </a:p>
          <a:p>
            <a:r>
              <a:rPr lang="en-IN" sz="800" dirty="0">
                <a:solidFill>
                  <a:schemeClr val="bg1"/>
                </a:solidFill>
                <a:latin typeface="Corbel" pitchFamily="34" charset="0"/>
              </a:rPr>
              <a:t>Fax: +31 70 3030047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983649" y="3846076"/>
            <a:ext cx="3898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  <a:latin typeface="Corbel" pitchFamily="34" charset="0"/>
              </a:rPr>
              <a:t>UK</a:t>
            </a:r>
            <a:endParaRPr lang="en-IN" sz="1200" b="1" dirty="0">
              <a:latin typeface="Corbel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984941" y="4112521"/>
            <a:ext cx="182506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b="1" dirty="0">
                <a:solidFill>
                  <a:schemeClr val="bg1"/>
                </a:solidFill>
                <a:latin typeface="Corbel" pitchFamily="34" charset="0"/>
              </a:rPr>
              <a:t>Prodapt Solutions Europe</a:t>
            </a:r>
          </a:p>
          <a:p>
            <a:r>
              <a:rPr lang="en-IN" sz="800" b="1" dirty="0">
                <a:solidFill>
                  <a:schemeClr val="bg1"/>
                </a:solidFill>
                <a:latin typeface="Corbel" pitchFamily="34" charset="0"/>
              </a:rPr>
              <a:t>London:</a:t>
            </a:r>
            <a:r>
              <a:rPr lang="en-IN" sz="800" b="1" baseline="0" dirty="0">
                <a:solidFill>
                  <a:schemeClr val="bg1"/>
                </a:solidFill>
                <a:latin typeface="Corbel" pitchFamily="34" charset="0"/>
              </a:rPr>
              <a:t> </a:t>
            </a:r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Devonshire House, 60 Goswell Road, EC1M 7AD</a:t>
            </a:r>
          </a:p>
          <a:p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Ph: +44 (0) 11 8900 1068</a:t>
            </a:r>
          </a:p>
          <a:p>
            <a:r>
              <a:rPr lang="en-IN" sz="800" b="0" dirty="0">
                <a:solidFill>
                  <a:schemeClr val="bg1"/>
                </a:solidFill>
                <a:latin typeface="Corbel" pitchFamily="34" charset="0"/>
              </a:rPr>
              <a:t>Fax: +44 (0) 11 8900 1069</a:t>
            </a:r>
            <a:endParaRPr lang="nl-NL" sz="800" b="0" dirty="0">
              <a:solidFill>
                <a:schemeClr val="bg1"/>
              </a:solidFill>
              <a:latin typeface="Corbel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776" y="2027472"/>
            <a:ext cx="673462" cy="136058"/>
          </a:xfrm>
          <a:prstGeom prst="rect">
            <a:avLst/>
          </a:prstGeom>
          <a:effectLst>
            <a:outerShdw blurRad="50800" dir="2700000" sx="86000" sy="86000" kx="-800400" algn="bl" rotWithShape="0">
              <a:prstClr val="black">
                <a:alpha val="99000"/>
              </a:prstClr>
            </a:outerShdw>
          </a:effectLst>
        </p:spPr>
      </p:pic>
      <p:sp>
        <p:nvSpPr>
          <p:cNvPr id="50" name="Rectangle 49"/>
          <p:cNvSpPr/>
          <p:nvPr/>
        </p:nvSpPr>
        <p:spPr>
          <a:xfrm>
            <a:off x="5267327" y="1973576"/>
            <a:ext cx="6190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800" dirty="0">
                <a:latin typeface="Corbel" panose="020B0503020204020204" pitchFamily="34" charset="0"/>
              </a:rPr>
              <a:t>Bengaluru</a:t>
            </a:r>
            <a:endParaRPr lang="en-IN" sz="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557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12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232" y="1200000"/>
            <a:ext cx="7517477" cy="3061229"/>
          </a:xfrm>
        </p:spPr>
        <p:txBody>
          <a:bodyPr wrap="square" anchor="ctr" anchorCtr="0">
            <a:noAutofit/>
          </a:bodyPr>
          <a:lstStyle>
            <a:lvl1pPr>
              <a:lnSpc>
                <a:spcPct val="90000"/>
              </a:lnSpc>
              <a:defRPr sz="4050" b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0924" y="5496073"/>
            <a:ext cx="75016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 smtClean="0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0231" y="4112817"/>
            <a:ext cx="7516800" cy="369332"/>
          </a:xfrm>
        </p:spPr>
        <p:txBody>
          <a:bodyPr vert="horz" lIns="0" tIns="0" rIns="0" bIns="0" rtlCol="0">
            <a:spAutoFit/>
          </a:bodyPr>
          <a:lstStyle>
            <a:lvl1pPr marL="0" marR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 lang="en-US" sz="2400" b="0" i="0" baseline="0" smtClean="0">
                <a:solidFill>
                  <a:schemeClr val="tx2"/>
                </a:solidFill>
              </a:defRPr>
            </a:lvl1pPr>
          </a:lstStyle>
          <a:p>
            <a:pPr marL="0" marR="0" lvl="0" indent="0" algn="l" defTabSz="6857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quote</a:t>
            </a:r>
          </a:p>
        </p:txBody>
      </p:sp>
    </p:spTree>
    <p:extLst>
      <p:ext uri="{BB962C8B-B14F-4D97-AF65-F5344CB8AC3E}">
        <p14:creationId xmlns:p14="http://schemas.microsoft.com/office/powerpoint/2010/main" val="307924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32310" y="1290000"/>
            <a:ext cx="8476119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gray">
          <a:xfrm>
            <a:off x="0" y="5498042"/>
            <a:ext cx="9144000" cy="219000"/>
          </a:xfrm>
          <a:prstGeom prst="rect">
            <a:avLst/>
          </a:prstGeom>
          <a:solidFill>
            <a:srgbClr val="337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686371" y="5496073"/>
            <a:ext cx="2133600" cy="219291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fld id="{4AFB64A4-AEA8-4B98-B701-E71BC2F0117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919103" y="177256"/>
            <a:ext cx="920588" cy="5159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17788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685713" rtl="0" eaLnBrk="1" latinLnBrk="0" hangingPunct="1">
        <a:lnSpc>
          <a:spcPts val="2520"/>
        </a:lnSpc>
        <a:spcBef>
          <a:spcPct val="0"/>
        </a:spcBef>
        <a:buNone/>
        <a:defRPr sz="2100" b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39304" indent="-139304" algn="l" defTabSz="685713" rtl="0" eaLnBrk="1" latinLnBrk="0" hangingPunct="1">
        <a:lnSpc>
          <a:spcPct val="100000"/>
        </a:lnSpc>
        <a:spcBef>
          <a:spcPts val="900"/>
        </a:spcBef>
        <a:spcAft>
          <a:spcPts val="225"/>
        </a:spcAft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216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6000" indent="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None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712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8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25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1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9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4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32310" y="1290000"/>
            <a:ext cx="8476119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spcBef>
                <a:spcPts val="225"/>
              </a:spcBef>
            </a:pPr>
            <a:r>
              <a:rPr lang="en-US"/>
              <a:t>Edit Master text styles</a:t>
            </a:r>
          </a:p>
          <a:p>
            <a:pPr lvl="1">
              <a:spcBef>
                <a:spcPts val="225"/>
              </a:spcBef>
            </a:pPr>
            <a:r>
              <a:rPr lang="en-US"/>
              <a:t>Second level</a:t>
            </a:r>
          </a:p>
          <a:p>
            <a:pPr lvl="2">
              <a:spcBef>
                <a:spcPts val="225"/>
              </a:spcBef>
            </a:pPr>
            <a:r>
              <a:rPr lang="en-US"/>
              <a:t>Third level</a:t>
            </a:r>
          </a:p>
          <a:p>
            <a:pPr lvl="3">
              <a:spcBef>
                <a:spcPts val="225"/>
              </a:spcBef>
            </a:pPr>
            <a:r>
              <a:rPr lang="en-US"/>
              <a:t>Fourth level</a:t>
            </a:r>
          </a:p>
          <a:p>
            <a:pPr lvl="4">
              <a:spcBef>
                <a:spcPts val="225"/>
              </a:spcBef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gray">
          <a:xfrm>
            <a:off x="0" y="5498042"/>
            <a:ext cx="9144000" cy="219000"/>
          </a:xfrm>
          <a:prstGeom prst="rect">
            <a:avLst/>
          </a:prstGeom>
          <a:solidFill>
            <a:srgbClr val="9C4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686371" y="5496073"/>
            <a:ext cx="2133600" cy="219291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919103" y="177256"/>
            <a:ext cx="920588" cy="5159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7931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 dt="0"/>
  <p:txStyles>
    <p:titleStyle>
      <a:lvl1pPr algn="l" defTabSz="685713" rtl="0" eaLnBrk="1" latinLnBrk="0" hangingPunct="1">
        <a:lnSpc>
          <a:spcPts val="2520"/>
        </a:lnSpc>
        <a:spcBef>
          <a:spcPct val="0"/>
        </a:spcBef>
        <a:buNone/>
        <a:defRPr lang="en-US" sz="2100" b="0" kern="1200" baseline="0" dirty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39304" indent="-139304" algn="l" defTabSz="685713" rtl="0" eaLnBrk="1" latinLnBrk="0" hangingPunct="1">
        <a:lnSpc>
          <a:spcPct val="100000"/>
        </a:lnSpc>
        <a:spcBef>
          <a:spcPts val="900"/>
        </a:spcBef>
        <a:spcAft>
          <a:spcPts val="225"/>
        </a:spcAft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216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5775" indent="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None/>
        <a:defRPr lang="en-GB" sz="105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712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8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25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1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9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4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32310" y="1290000"/>
            <a:ext cx="8476119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gray">
          <a:xfrm>
            <a:off x="0" y="5498042"/>
            <a:ext cx="9144000" cy="219000"/>
          </a:xfrm>
          <a:prstGeom prst="rect">
            <a:avLst/>
          </a:prstGeom>
          <a:solidFill>
            <a:srgbClr val="D74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686371" y="5496073"/>
            <a:ext cx="2133600" cy="219291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919103" y="177256"/>
            <a:ext cx="920588" cy="5159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3721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</p:sldLayoutIdLst>
  <p:hf hdr="0" dt="0"/>
  <p:txStyles>
    <p:titleStyle>
      <a:lvl1pPr algn="l" defTabSz="685713" rtl="0" eaLnBrk="1" latinLnBrk="0" hangingPunct="1">
        <a:lnSpc>
          <a:spcPts val="2520"/>
        </a:lnSpc>
        <a:spcBef>
          <a:spcPct val="0"/>
        </a:spcBef>
        <a:buNone/>
        <a:defRPr lang="en-US" sz="2100" b="0" kern="1200" baseline="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39304" indent="-139304" algn="l" defTabSz="685713" rtl="0" eaLnBrk="1" latinLnBrk="0" hangingPunct="1">
        <a:lnSpc>
          <a:spcPct val="100000"/>
        </a:lnSpc>
        <a:spcBef>
          <a:spcPts val="900"/>
        </a:spcBef>
        <a:spcAft>
          <a:spcPts val="225"/>
        </a:spcAft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216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6000" indent="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None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712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8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25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1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9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4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32310" y="1290000"/>
            <a:ext cx="8476119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gray">
          <a:xfrm>
            <a:off x="0" y="5498042"/>
            <a:ext cx="9144000" cy="219000"/>
          </a:xfrm>
          <a:prstGeom prst="rect">
            <a:avLst/>
          </a:prstGeom>
          <a:solidFill>
            <a:srgbClr val="6FC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686371" y="5496073"/>
            <a:ext cx="2133600" cy="219291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919103" y="177256"/>
            <a:ext cx="920588" cy="5159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900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</p:sldLayoutIdLst>
  <p:hf hdr="0" dt="0"/>
  <p:txStyles>
    <p:titleStyle>
      <a:lvl1pPr algn="l" defTabSz="685713" rtl="0" eaLnBrk="1" latinLnBrk="0" hangingPunct="1">
        <a:lnSpc>
          <a:spcPts val="2520"/>
        </a:lnSpc>
        <a:spcBef>
          <a:spcPct val="0"/>
        </a:spcBef>
        <a:buNone/>
        <a:defRPr sz="2100" b="0" kern="1200" baseline="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139304" indent="-139304" algn="l" defTabSz="685713" rtl="0" eaLnBrk="1" latinLnBrk="0" hangingPunct="1">
        <a:lnSpc>
          <a:spcPct val="100000"/>
        </a:lnSpc>
        <a:spcBef>
          <a:spcPts val="900"/>
        </a:spcBef>
        <a:spcAft>
          <a:spcPts val="225"/>
        </a:spcAft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216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5775" indent="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None/>
        <a:defRPr lang="en-GB" sz="105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712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8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25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1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9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4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2308" y="443099"/>
            <a:ext cx="7200000" cy="32060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32310" y="1290000"/>
            <a:ext cx="8476119" cy="39943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 bwMode="gray">
          <a:xfrm>
            <a:off x="0" y="5498042"/>
            <a:ext cx="9144000" cy="219000"/>
          </a:xfrm>
          <a:prstGeom prst="rect">
            <a:avLst/>
          </a:prstGeom>
          <a:solidFill>
            <a:srgbClr val="85BD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2307" y="5496714"/>
            <a:ext cx="6743196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>
              <a:defRPr lang="nl-NL" sz="8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| Title and Department | Month Day Year | Title of Presentation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686371" y="5496073"/>
            <a:ext cx="2133600" cy="219291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8" name="Picture 4" descr="H:\Brand Refresh PowerPoint 2012\brand guidelines\assets\LG ppt assets\logo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919103" y="177256"/>
            <a:ext cx="920588" cy="5159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90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</p:sldLayoutIdLst>
  <p:hf hdr="0" dt="0"/>
  <p:txStyles>
    <p:titleStyle>
      <a:lvl1pPr algn="l" defTabSz="685713" rtl="0" eaLnBrk="1" latinLnBrk="0" hangingPunct="1">
        <a:lnSpc>
          <a:spcPts val="2520"/>
        </a:lnSpc>
        <a:spcBef>
          <a:spcPct val="0"/>
        </a:spcBef>
        <a:buNone/>
        <a:defRPr lang="en-US" sz="2100" b="0" kern="1200" baseline="0" dirty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39304" indent="-139304" algn="l" defTabSz="685713" rtl="0" eaLnBrk="1" latinLnBrk="0" hangingPunct="1">
        <a:lnSpc>
          <a:spcPct val="100000"/>
        </a:lnSpc>
        <a:spcBef>
          <a:spcPts val="900"/>
        </a:spcBef>
        <a:spcAft>
          <a:spcPts val="225"/>
        </a:spcAft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13216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32300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Char char="–"/>
        <a:defRPr lang="en-US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85775" indent="9525" algn="l" defTabSz="68571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Tx/>
        <a:buSzPct val="100000"/>
        <a:buFont typeface="Arial" pitchFamily="34" charset="0"/>
        <a:buNone/>
        <a:defRPr lang="en-GB" sz="105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712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68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25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81" indent="-171428" algn="l" defTabSz="68571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5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1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2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83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40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97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54" algn="l" defTabSz="68571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0"/>
            <a:ext cx="8610600" cy="7408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910166"/>
            <a:ext cx="8610600" cy="44026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55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txStyles>
    <p:titleStyle>
      <a:lvl1pPr algn="l" defTabSz="914378" rtl="0" eaLnBrk="1" latinLnBrk="0" hangingPunct="1">
        <a:spcBef>
          <a:spcPct val="0"/>
        </a:spcBef>
        <a:buNone/>
        <a:defRPr lang="en-US" sz="2000" b="0" i="0" kern="1200" dirty="0">
          <a:solidFill>
            <a:schemeClr val="tx2"/>
          </a:solidFill>
          <a:latin typeface="Corbel" panose="020B0503020204020204" pitchFamily="34" charset="0"/>
          <a:ea typeface="+mj-ea"/>
          <a:cs typeface="Corbel" panose="020B0503020204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0"/>
            <a:ext cx="8610600" cy="7408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910166"/>
            <a:ext cx="8610600" cy="44026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998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lang="en-US" sz="2000" b="0" i="0" kern="1200" dirty="0">
          <a:solidFill>
            <a:schemeClr val="tx2"/>
          </a:solidFill>
          <a:latin typeface="Corbel" panose="020B0503020204020204" pitchFamily="34" charset="0"/>
          <a:ea typeface="+mj-ea"/>
          <a:cs typeface="Corbel" panose="020B0503020204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ngall.com/red-cross-mark-png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jp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7.png"/><Relationship Id="rId5" Type="http://schemas.openxmlformats.org/officeDocument/2006/relationships/image" Target="../media/image36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13" Type="http://schemas.openxmlformats.org/officeDocument/2006/relationships/image" Target="../media/image43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39.png"/><Relationship Id="rId11" Type="http://schemas.openxmlformats.org/officeDocument/2006/relationships/image" Target="../media/image49.png"/><Relationship Id="rId5" Type="http://schemas.openxmlformats.org/officeDocument/2006/relationships/image" Target="../media/image38.png"/><Relationship Id="rId10" Type="http://schemas.openxmlformats.org/officeDocument/2006/relationships/image" Target="../media/image48.png"/><Relationship Id="rId4" Type="http://schemas.openxmlformats.org/officeDocument/2006/relationships/image" Target="../media/image37.png"/><Relationship Id="rId9" Type="http://schemas.openxmlformats.org/officeDocument/2006/relationships/image" Target="../media/image34.png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569B668-6D08-4E0D-9608-79772C126529}"/>
              </a:ext>
            </a:extLst>
          </p:cNvPr>
          <p:cNvSpPr txBox="1"/>
          <p:nvPr/>
        </p:nvSpPr>
        <p:spPr>
          <a:xfrm>
            <a:off x="5970085" y="4120377"/>
            <a:ext cx="24098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Gopalakrishna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Jagadee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Kanapathi Raj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92A497-775E-4723-A034-B312B352D9DD}"/>
              </a:ext>
            </a:extLst>
          </p:cNvPr>
          <p:cNvSpPr txBox="1"/>
          <p:nvPr/>
        </p:nvSpPr>
        <p:spPr>
          <a:xfrm>
            <a:off x="313766" y="1866013"/>
            <a:ext cx="821111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50" dirty="0">
                <a:solidFill>
                  <a:srgbClr val="002060"/>
                </a:solidFill>
              </a:rPr>
              <a:t>Prodapt - SDIL – Fixathon</a:t>
            </a:r>
          </a:p>
          <a:p>
            <a:pPr algn="ctr"/>
            <a:r>
              <a:rPr lang="en-US" sz="4050" dirty="0">
                <a:solidFill>
                  <a:srgbClr val="002060"/>
                </a:solidFill>
              </a:rPr>
              <a:t>One Click - Deployment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893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30" y="-1"/>
            <a:ext cx="8607224" cy="730823"/>
          </a:xfrm>
        </p:spPr>
        <p:txBody>
          <a:bodyPr/>
          <a:lstStyle/>
          <a:p>
            <a:r>
              <a:rPr lang="en-US" sz="2100" dirty="0">
                <a:solidFill>
                  <a:srgbClr val="1F497D"/>
                </a:solidFill>
              </a:rPr>
              <a:t>Problem Statement</a:t>
            </a:r>
            <a:endParaRPr lang="en-US" sz="2002" dirty="0">
              <a:solidFill>
                <a:srgbClr val="1F497D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22663" y="730822"/>
            <a:ext cx="8789361" cy="4604180"/>
            <a:chOff x="406400" y="1009649"/>
            <a:chExt cx="11197590" cy="5717716"/>
          </a:xfrm>
        </p:grpSpPr>
        <p:sp>
          <p:nvSpPr>
            <p:cNvPr id="19" name="Rectangle 18"/>
            <p:cNvSpPr/>
            <p:nvPr/>
          </p:nvSpPr>
          <p:spPr>
            <a:xfrm>
              <a:off x="434111" y="4887382"/>
              <a:ext cx="11169879" cy="177251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5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406400" y="1009649"/>
              <a:ext cx="11197590" cy="122093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5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orbel" panose="020B0503020204020204" pitchFamily="34" charset="0"/>
                </a:rPr>
                <a:t>Currently, the deployment is done manually and require SDIL deployment team to present during the deployment window. 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orbel" panose="020B0503020204020204" pitchFamily="34" charset="0"/>
                </a:rPr>
                <a:t>Engineer follow the deployment guide then proceed with deployment at each country and component level.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06400" y="2411762"/>
              <a:ext cx="3730752" cy="228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50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defTabSz="685800"/>
              <a:endParaRPr lang="en-US" sz="1050" dirty="0">
                <a:latin typeface="Corbel" panose="020B0503020204020204" pitchFamily="34" charset="0"/>
              </a:endParaRPr>
            </a:p>
            <a:p>
              <a:pPr defTabSz="685800"/>
              <a:endParaRPr lang="en-US" sz="1050" dirty="0">
                <a:latin typeface="Corbel" panose="020B0503020204020204" pitchFamily="34" charset="0"/>
              </a:endParaRPr>
            </a:p>
            <a:p>
              <a:pPr defTabSz="685800"/>
              <a:endParaRPr lang="en-US" sz="1050" dirty="0">
                <a:latin typeface="Corbel" panose="020B0503020204020204" pitchFamily="34" charset="0"/>
              </a:endParaRPr>
            </a:p>
            <a:p>
              <a:pPr defTabSz="685800"/>
              <a:endParaRPr lang="en-IN" sz="1050" dirty="0"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latin typeface="Corbel" panose="020B0503020204020204" pitchFamily="34" charset="0"/>
                </a:rPr>
                <a:t>Too many manual steps and swivel process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latin typeface="Corbel" panose="020B0503020204020204" pitchFamily="34" charset="0"/>
                </a:rPr>
                <a:t>More time in validating VMs and N/w Connectivity.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latin typeface="Corbel" panose="020B0503020204020204" pitchFamily="34" charset="0"/>
                </a:rPr>
                <a:t>Too many dependencies/pre-requisites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latin typeface="Corbel" panose="020B0503020204020204" pitchFamily="34" charset="0"/>
                </a:rPr>
                <a:t>High </a:t>
              </a:r>
              <a:r>
                <a:rPr lang="en-IN" sz="1050" dirty="0" err="1">
                  <a:latin typeface="Corbel" panose="020B0503020204020204" pitchFamily="34" charset="0"/>
                </a:rPr>
                <a:t>Opex</a:t>
              </a:r>
              <a:r>
                <a:rPr lang="en-IN" sz="1050" dirty="0">
                  <a:latin typeface="Corbel" panose="020B0503020204020204" pitchFamily="34" charset="0"/>
                </a:rPr>
                <a:t> cost   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latin typeface="Corbel" panose="020B050302020402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20448" y="1015464"/>
              <a:ext cx="392525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5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Corbel" panose="020B0503020204020204" pitchFamily="34" charset="0"/>
                </a:rPr>
                <a:t>Current Scenario - Overview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139819" y="2411762"/>
              <a:ext cx="3730752" cy="2286000"/>
            </a:xfrm>
            <a:prstGeom prst="rect">
              <a:avLst/>
            </a:prstGeom>
            <a:solidFill>
              <a:srgbClr val="005480"/>
            </a:solidFill>
            <a:ln>
              <a:solidFill>
                <a:srgbClr val="005480"/>
              </a:solidFill>
            </a:ln>
          </p:spPr>
          <p:txBody>
            <a:bodyPr wrap="square" rtlCol="0">
              <a:noAutofit/>
            </a:bodyPr>
            <a:lstStyle/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Automate pre-checks and post validations 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Configuration script to enable ONE click deployment.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white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Use Docker / </a:t>
              </a:r>
              <a:r>
                <a:rPr lang="en-IN" sz="1050" dirty="0" err="1">
                  <a:solidFill>
                    <a:prstClr val="white"/>
                  </a:solidFill>
                  <a:latin typeface="Corbel" panose="020B0503020204020204" pitchFamily="34" charset="0"/>
                </a:rPr>
                <a:t>kubenetes</a:t>
              </a: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 to orchestrate deployment.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870570" y="2411762"/>
              <a:ext cx="3733419" cy="2286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endParaRPr lang="en-IN" sz="1050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Makes it seamless and simple to operate a complex multi-geographic </a:t>
              </a:r>
              <a:r>
                <a:rPr lang="en-IN" sz="1050" dirty="0" err="1">
                  <a:solidFill>
                    <a:prstClr val="white"/>
                  </a:solidFill>
                  <a:latin typeface="Corbel" panose="020B0503020204020204" pitchFamily="34" charset="0"/>
                </a:rPr>
                <a:t>pipline</a:t>
              </a: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.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Greater accuracy and reducing the human error factor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Build pipeline as a code with intermediate CI/CD stages using Jenkins. </a:t>
              </a:r>
            </a:p>
            <a:p>
              <a:pPr marL="214313" indent="-214313" defTabSz="685800">
                <a:buFont typeface="Wingdings" panose="05000000000000000000" pitchFamily="2" charset="2"/>
                <a:buChar char="§"/>
              </a:pPr>
              <a:r>
                <a:rPr lang="en-IN" sz="1050" dirty="0">
                  <a:solidFill>
                    <a:prstClr val="white"/>
                  </a:solidFill>
                  <a:latin typeface="Corbel" panose="020B0503020204020204" pitchFamily="34" charset="0"/>
                </a:rPr>
                <a:t>Create Monitoring dashboard through artefacts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 rot="5400000">
              <a:off x="3952667" y="2889016"/>
              <a:ext cx="577516" cy="208548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10253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Isosceles Triangle 12"/>
            <p:cNvSpPr/>
            <p:nvPr/>
          </p:nvSpPr>
          <p:spPr>
            <a:xfrm rot="5400000">
              <a:off x="7682967" y="2889016"/>
              <a:ext cx="577516" cy="208548"/>
            </a:xfrm>
            <a:prstGeom prst="triangle">
              <a:avLst/>
            </a:prstGeom>
            <a:solidFill>
              <a:srgbClr val="005480"/>
            </a:solidFill>
            <a:ln w="12700">
              <a:solidFill>
                <a:srgbClr val="0054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7707" y="2733408"/>
              <a:ext cx="820897" cy="548640"/>
            </a:xfrm>
            <a:prstGeom prst="rect">
              <a:avLst/>
            </a:prstGeom>
          </p:spPr>
        </p:pic>
        <p:sp>
          <p:nvSpPr>
            <p:cNvPr id="4" name="TextBox 3"/>
            <p:cNvSpPr txBox="1"/>
            <p:nvPr/>
          </p:nvSpPr>
          <p:spPr>
            <a:xfrm>
              <a:off x="424752" y="2414110"/>
              <a:ext cx="2255385" cy="401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500" dirty="0">
                  <a:latin typeface="Corbel" panose="020B0503020204020204" pitchFamily="34" charset="0"/>
                </a:rPr>
                <a:t>Current Challenge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134031" y="2431662"/>
              <a:ext cx="3247602" cy="401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500" dirty="0">
                  <a:solidFill>
                    <a:prstClr val="white"/>
                  </a:solidFill>
                  <a:latin typeface="Corbel" panose="020B0503020204020204" pitchFamily="34" charset="0"/>
                </a:rPr>
                <a:t>Validation Enablers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884586" y="2430907"/>
              <a:ext cx="3475472" cy="401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500" dirty="0">
                  <a:solidFill>
                    <a:prstClr val="white"/>
                  </a:solidFill>
                  <a:latin typeface="Corbel" panose="020B0503020204020204" pitchFamily="34" charset="0"/>
                </a:rPr>
                <a:t>Advantages</a:t>
              </a:r>
            </a:p>
          </p:txBody>
        </p:sp>
        <p:pic>
          <p:nvPicPr>
            <p:cNvPr id="17" name="Image 13"/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5788" y="2524509"/>
              <a:ext cx="734270" cy="54864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4526" y="2416185"/>
              <a:ext cx="914400" cy="92338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5788" y="1232146"/>
              <a:ext cx="824335" cy="824336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434111" y="4898009"/>
              <a:ext cx="161261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sz="15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orbel" panose="020B0503020204020204" pitchFamily="34" charset="0"/>
                </a:rPr>
                <a:t>Results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01483" y="4990532"/>
              <a:ext cx="548640" cy="54864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2622241" y="5107954"/>
              <a:ext cx="2818029" cy="1619411"/>
              <a:chOff x="2331291" y="5107954"/>
              <a:chExt cx="2818029" cy="1619411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3136405" y="5867387"/>
                <a:ext cx="2012915" cy="8599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300">
                    <a:solidFill>
                      <a:srgbClr val="333333"/>
                    </a:solidFill>
                    <a:latin typeface="Corbel" panose="020B0503020204020204" pitchFamily="34" charset="0"/>
                  </a:defRPr>
                </a:lvl1pPr>
              </a:lstStyle>
              <a:p>
                <a:pPr algn="ctr" defTabSz="685800"/>
                <a:r>
                  <a:rPr lang="en-US" sz="975" dirty="0"/>
                  <a:t>Reduction in waiting time with parallel execution of multiple applications/ countries</a:t>
                </a: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2331291" y="5107954"/>
                <a:ext cx="281411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endParaRPr lang="en-US" sz="4050" dirty="0">
                  <a:solidFill>
                    <a:srgbClr val="333333"/>
                  </a:solidFill>
                  <a:latin typeface="Calibri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8836940" y="5070934"/>
              <a:ext cx="1776329" cy="88864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>
              <a:defPPr>
                <a:defRPr lang="en-US"/>
              </a:defPPr>
              <a:lvl1pPr>
                <a:defRPr sz="5400">
                  <a:solidFill>
                    <a:srgbClr val="333333"/>
                  </a:solidFill>
                  <a:latin typeface="Corbel" panose="020B0503020204020204" pitchFamily="34" charset="0"/>
                </a:defRPr>
              </a:lvl1pPr>
            </a:lstStyle>
            <a:p>
              <a:pPr defTabSz="685800"/>
              <a:endParaRPr lang="en-US" sz="405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27223" y="5937079"/>
              <a:ext cx="1922225" cy="6736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300">
                  <a:solidFill>
                    <a:srgbClr val="333333"/>
                  </a:solidFill>
                  <a:latin typeface="Corbel" panose="020B0503020204020204" pitchFamily="34" charset="0"/>
                </a:defRPr>
              </a:lvl1pPr>
            </a:lstStyle>
            <a:p>
              <a:pPr defTabSz="685800"/>
              <a:r>
                <a:rPr lang="en-US" sz="975" dirty="0"/>
                <a:t>Reduction in Deployment time for end-to-end CI/CD window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4760862" y="4115106"/>
            <a:ext cx="1332247" cy="7155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en-IN" sz="4050" dirty="0">
                <a:solidFill>
                  <a:srgbClr val="333333"/>
                </a:solidFill>
                <a:latin typeface="Corbel" panose="020B0503020204020204" pitchFamily="34" charset="0"/>
              </a:rPr>
              <a:t>60%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646452" y="4784961"/>
            <a:ext cx="165786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IN" sz="975" dirty="0">
                <a:solidFill>
                  <a:srgbClr val="333333"/>
                </a:solidFill>
                <a:latin typeface="Corbel" panose="020B0503020204020204" pitchFamily="34" charset="0"/>
              </a:rPr>
              <a:t>Lower IT spend in the process and resource usage</a:t>
            </a:r>
          </a:p>
        </p:txBody>
      </p:sp>
      <p:sp>
        <p:nvSpPr>
          <p:cNvPr id="47" name="Down Arrow 46"/>
          <p:cNvSpPr/>
          <p:nvPr/>
        </p:nvSpPr>
        <p:spPr>
          <a:xfrm>
            <a:off x="5815747" y="4300479"/>
            <a:ext cx="133970" cy="141761"/>
          </a:xfrm>
          <a:prstGeom prst="downArrow">
            <a:avLst/>
          </a:prstGeom>
          <a:noFill/>
          <a:ln>
            <a:solidFill>
              <a:srgbClr val="3334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/>
            <a:fld id="{45132D5E-E62B-4780-B73B-292F2AAECA66}" type="slidenum">
              <a:rPr lang="en-US">
                <a:solidFill>
                  <a:prstClr val="black"/>
                </a:solidFill>
              </a:rPr>
              <a:pPr defTabSz="685800"/>
              <a:t>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9945" y="4064532"/>
            <a:ext cx="1332247" cy="7155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en-IN" sz="4050" dirty="0">
                <a:solidFill>
                  <a:srgbClr val="333333"/>
                </a:solidFill>
                <a:latin typeface="Corbel" panose="020B0503020204020204" pitchFamily="34" charset="0"/>
              </a:rPr>
              <a:t>60%</a:t>
            </a:r>
          </a:p>
        </p:txBody>
      </p:sp>
      <p:sp>
        <p:nvSpPr>
          <p:cNvPr id="43" name="Down Arrow 42"/>
          <p:cNvSpPr/>
          <p:nvPr/>
        </p:nvSpPr>
        <p:spPr>
          <a:xfrm rot="21446964">
            <a:off x="1583436" y="4195490"/>
            <a:ext cx="133970" cy="141761"/>
          </a:xfrm>
          <a:prstGeom prst="downArrow">
            <a:avLst/>
          </a:prstGeom>
          <a:noFill/>
          <a:ln>
            <a:solidFill>
              <a:srgbClr val="3334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595640" y="4064532"/>
            <a:ext cx="1332247" cy="7155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en-IN" sz="4050" dirty="0">
                <a:solidFill>
                  <a:srgbClr val="333333"/>
                </a:solidFill>
                <a:latin typeface="Corbel" panose="020B0503020204020204" pitchFamily="34" charset="0"/>
              </a:rPr>
              <a:t>70%</a:t>
            </a:r>
          </a:p>
        </p:txBody>
      </p:sp>
      <p:sp>
        <p:nvSpPr>
          <p:cNvPr id="46" name="Down Arrow 46">
            <a:extLst>
              <a:ext uri="{FF2B5EF4-FFF2-40B4-BE49-F238E27FC236}">
                <a16:creationId xmlns:a16="http://schemas.microsoft.com/office/drawing/2014/main" id="{138E18D2-573A-46C3-97D5-5CD7E0714176}"/>
              </a:ext>
            </a:extLst>
          </p:cNvPr>
          <p:cNvSpPr/>
          <p:nvPr/>
        </p:nvSpPr>
        <p:spPr>
          <a:xfrm>
            <a:off x="3592939" y="4229858"/>
            <a:ext cx="133970" cy="141761"/>
          </a:xfrm>
          <a:prstGeom prst="downArrow">
            <a:avLst/>
          </a:prstGeom>
          <a:noFill/>
          <a:ln>
            <a:solidFill>
              <a:srgbClr val="3334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3DE3452-265F-4999-8F34-E424DAED37D6}"/>
              </a:ext>
            </a:extLst>
          </p:cNvPr>
          <p:cNvSpPr txBox="1"/>
          <p:nvPr/>
        </p:nvSpPr>
        <p:spPr>
          <a:xfrm>
            <a:off x="6742111" y="4090029"/>
            <a:ext cx="1618492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/>
            <a:r>
              <a:rPr lang="en-IN" sz="2400" dirty="0">
                <a:solidFill>
                  <a:srgbClr val="333333"/>
                </a:solidFill>
                <a:latin typeface="Corbel" panose="020B0503020204020204" pitchFamily="34" charset="0"/>
              </a:rPr>
              <a:t>Increase Reusability</a:t>
            </a:r>
          </a:p>
        </p:txBody>
      </p:sp>
      <p:sp>
        <p:nvSpPr>
          <p:cNvPr id="22" name="Arrow: Up 21">
            <a:extLst>
              <a:ext uri="{FF2B5EF4-FFF2-40B4-BE49-F238E27FC236}">
                <a16:creationId xmlns:a16="http://schemas.microsoft.com/office/drawing/2014/main" id="{A44AB287-09EC-4825-9F90-D534A27B416E}"/>
              </a:ext>
            </a:extLst>
          </p:cNvPr>
          <p:cNvSpPr/>
          <p:nvPr/>
        </p:nvSpPr>
        <p:spPr>
          <a:xfrm>
            <a:off x="7934316" y="4255286"/>
            <a:ext cx="164259" cy="162731"/>
          </a:xfrm>
          <a:prstGeom prst="up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793B69A-01BD-40CA-915C-DA7885FFDA1F}"/>
              </a:ext>
            </a:extLst>
          </p:cNvPr>
          <p:cNvSpPr txBox="1"/>
          <p:nvPr/>
        </p:nvSpPr>
        <p:spPr>
          <a:xfrm>
            <a:off x="6681624" y="4773646"/>
            <a:ext cx="1657867" cy="542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IN" sz="975" dirty="0">
                <a:solidFill>
                  <a:srgbClr val="333333"/>
                </a:solidFill>
                <a:latin typeface="Corbel" panose="020B0503020204020204" pitchFamily="34" charset="0"/>
              </a:rPr>
              <a:t>Same toolchain can be used for multiple environment Prod &amp; Pre-Prod.</a:t>
            </a:r>
          </a:p>
        </p:txBody>
      </p:sp>
    </p:spTree>
    <p:extLst>
      <p:ext uri="{BB962C8B-B14F-4D97-AF65-F5344CB8AC3E}">
        <p14:creationId xmlns:p14="http://schemas.microsoft.com/office/powerpoint/2010/main" val="1392973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32DB9-A2FE-4AE3-A01F-A77AA0490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Vs Proposed 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F40352-2629-44D6-A894-FD8A4FA7FE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910166"/>
            <a:ext cx="4133385" cy="4402667"/>
          </a:xfrm>
        </p:spPr>
        <p:txBody>
          <a:bodyPr>
            <a:normAutofit fontScale="92500" lnSpcReduction="10000"/>
          </a:bodyPr>
          <a:lstStyle/>
          <a:p>
            <a:pPr marL="457188" lvl="1" indent="0">
              <a:buNone/>
            </a:pPr>
            <a:r>
              <a:rPr lang="en-US" sz="2200" b="1" i="1" dirty="0">
                <a:solidFill>
                  <a:srgbClr val="FF0000"/>
                </a:solidFill>
              </a:rPr>
              <a:t>       Current Pain Points</a:t>
            </a:r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endParaRPr lang="en-US" dirty="0"/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r>
              <a:rPr lang="en-US" dirty="0"/>
              <a:t>Manual steps in updating the JIRA story &amp; task.</a:t>
            </a:r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endParaRPr lang="en-US" dirty="0"/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r>
              <a:rPr lang="en-US" dirty="0"/>
              <a:t>Validate the connectivity between the CICD tools.</a:t>
            </a:r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endParaRPr lang="en-US" dirty="0"/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r>
              <a:rPr lang="en-US" dirty="0"/>
              <a:t>Manual Status update and Monitoring </a:t>
            </a:r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endParaRPr lang="en-US" dirty="0"/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r>
              <a:rPr lang="en-US" dirty="0"/>
              <a:t>Post-Deployment checks like checking VMs status and application readiness is done through Putty.</a:t>
            </a:r>
          </a:p>
          <a:p>
            <a:pPr>
              <a:buBlip>
                <a:blip r:embed="rId2">
                  <a:extLst>
                    <a:ext uri="{837473B0-CC2E-450A-ABE3-18F120FF3D39}">
                      <a1611:picAttrSrcUrl xmlns:a1611="http://schemas.microsoft.com/office/drawing/2016/11/main" r:id="rId3"/>
                    </a:ext>
                  </a:extLst>
                </a:blip>
              </a:buBlip>
            </a:pP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3CB92DA-4D60-433A-80CF-FBAFDD5928F8}"/>
              </a:ext>
            </a:extLst>
          </p:cNvPr>
          <p:cNvSpPr txBox="1">
            <a:spLocks/>
          </p:cNvSpPr>
          <p:nvPr/>
        </p:nvSpPr>
        <p:spPr>
          <a:xfrm>
            <a:off x="4572000" y="910165"/>
            <a:ext cx="4267200" cy="440266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i="1" dirty="0">
                <a:solidFill>
                  <a:srgbClr val="00B050"/>
                </a:solidFill>
              </a:rPr>
              <a:t>	 Proposed Solution</a:t>
            </a:r>
            <a:endParaRPr lang="en-US" dirty="0">
              <a:solidFill>
                <a:srgbClr val="00B050"/>
              </a:solidFill>
            </a:endParaRPr>
          </a:p>
          <a:p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Auto update the JIRA stories and task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9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Automation script that will enable deployment across multiple application/VMs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9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Visualized view of VMs and its current status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9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Automated post deployment validation steps. </a:t>
            </a:r>
          </a:p>
        </p:txBody>
      </p:sp>
    </p:spTree>
    <p:extLst>
      <p:ext uri="{BB962C8B-B14F-4D97-AF65-F5344CB8AC3E}">
        <p14:creationId xmlns:p14="http://schemas.microsoft.com/office/powerpoint/2010/main" val="2892635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16D30A89-4E5D-4967-8D7A-4724FBB7075F}"/>
              </a:ext>
            </a:extLst>
          </p:cNvPr>
          <p:cNvSpPr/>
          <p:nvPr/>
        </p:nvSpPr>
        <p:spPr>
          <a:xfrm>
            <a:off x="7451373" y="1530503"/>
            <a:ext cx="1431094" cy="11346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C8F44-9069-4D23-BD1C-4E9478107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79" y="119422"/>
            <a:ext cx="6876584" cy="497328"/>
          </a:xfrm>
        </p:spPr>
        <p:txBody>
          <a:bodyPr/>
          <a:lstStyle/>
          <a:p>
            <a:r>
              <a:rPr lang="en-US" dirty="0"/>
              <a:t>Proposed - Solution Design</a:t>
            </a:r>
            <a:endParaRPr lang="en-GB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CB60479-48A4-467D-BE54-56A56D4BD0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225" y="1025826"/>
            <a:ext cx="1590169" cy="3895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DC59748-61AB-41DB-B78E-EE12F18C34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1172" y="1896039"/>
            <a:ext cx="1193587" cy="4973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FBCFDFA-4878-4C7F-93EB-FAA0CA4A6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1331" y="3105432"/>
            <a:ext cx="1385346" cy="5379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F2061BE-40DC-4895-BD83-78336737C2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501" y="4773879"/>
            <a:ext cx="1075934" cy="3623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AB6B62C-6F7E-41FC-89F6-C9C1816A086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925412"/>
            <a:ext cx="657922" cy="60509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016FA10-247D-4901-B013-F0333BD53C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1841589"/>
            <a:ext cx="657922" cy="6050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0A74A4-8152-4361-AF59-0F9D568083A3}"/>
              </a:ext>
            </a:extLst>
          </p:cNvPr>
          <p:cNvSpPr txBox="1"/>
          <p:nvPr/>
        </p:nvSpPr>
        <p:spPr>
          <a:xfrm>
            <a:off x="220347" y="1468575"/>
            <a:ext cx="7328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Develo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EB652A-5227-4FB4-971A-FE0D85F97E1C}"/>
              </a:ext>
            </a:extLst>
          </p:cNvPr>
          <p:cNvSpPr txBox="1"/>
          <p:nvPr/>
        </p:nvSpPr>
        <p:spPr>
          <a:xfrm>
            <a:off x="207505" y="2372670"/>
            <a:ext cx="899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Deployment  </a:t>
            </a:r>
          </a:p>
          <a:p>
            <a:pPr algn="ctr"/>
            <a:r>
              <a:rPr lang="en-US" sz="1000" i="1" dirty="0"/>
              <a:t>Engineer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7641F2E-27A5-4DEE-88CC-87BD9BC94CFE}"/>
              </a:ext>
            </a:extLst>
          </p:cNvPr>
          <p:cNvCxnSpPr>
            <a:cxnSpLocks/>
          </p:cNvCxnSpPr>
          <p:nvPr/>
        </p:nvCxnSpPr>
        <p:spPr>
          <a:xfrm flipV="1">
            <a:off x="929270" y="1220622"/>
            <a:ext cx="874502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39E8AF9-6BB8-4CBF-83F0-9A5BAA92C81C}"/>
              </a:ext>
            </a:extLst>
          </p:cNvPr>
          <p:cNvCxnSpPr>
            <a:cxnSpLocks/>
          </p:cNvCxnSpPr>
          <p:nvPr/>
        </p:nvCxnSpPr>
        <p:spPr>
          <a:xfrm>
            <a:off x="929270" y="2145556"/>
            <a:ext cx="709959" cy="460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A close up of a logo&#10;&#10;Description automatically generated">
            <a:extLst>
              <a:ext uri="{FF2B5EF4-FFF2-40B4-BE49-F238E27FC236}">
                <a16:creationId xmlns:a16="http://schemas.microsoft.com/office/drawing/2014/main" id="{422CAB14-5F37-4073-90BA-166C714C13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330" y="1841589"/>
            <a:ext cx="1876150" cy="60338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178DBA6-E562-4675-B654-DE2F6B24511F}"/>
              </a:ext>
            </a:extLst>
          </p:cNvPr>
          <p:cNvCxnSpPr>
            <a:cxnSpLocks/>
          </p:cNvCxnSpPr>
          <p:nvPr/>
        </p:nvCxnSpPr>
        <p:spPr>
          <a:xfrm>
            <a:off x="2989556" y="2132377"/>
            <a:ext cx="1080641" cy="15479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0D18BCA-660C-47DA-8061-477092C1B671}"/>
              </a:ext>
            </a:extLst>
          </p:cNvPr>
          <p:cNvSpPr txBox="1"/>
          <p:nvPr/>
        </p:nvSpPr>
        <p:spPr>
          <a:xfrm>
            <a:off x="2923633" y="1875879"/>
            <a:ext cx="11432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Pull/ Push Request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CC0C71E-D6BF-405A-9C58-822948F299CA}"/>
              </a:ext>
            </a:extLst>
          </p:cNvPr>
          <p:cNvCxnSpPr>
            <a:cxnSpLocks/>
          </p:cNvCxnSpPr>
          <p:nvPr/>
        </p:nvCxnSpPr>
        <p:spPr>
          <a:xfrm>
            <a:off x="6001169" y="2139251"/>
            <a:ext cx="1479762" cy="10905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125627F-47A4-4B15-B46D-D20E19697585}"/>
              </a:ext>
            </a:extLst>
          </p:cNvPr>
          <p:cNvSpPr txBox="1"/>
          <p:nvPr/>
        </p:nvSpPr>
        <p:spPr>
          <a:xfrm>
            <a:off x="6059623" y="1928473"/>
            <a:ext cx="13628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Precheck, Deployment </a:t>
            </a:r>
          </a:p>
          <a:p>
            <a:pPr algn="ctr"/>
            <a:r>
              <a:rPr lang="en-US" sz="1000" i="1" dirty="0"/>
              <a:t>&amp; Post validation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9DC6D42-0064-44F5-8EF4-43EAB66816E1}"/>
              </a:ext>
            </a:extLst>
          </p:cNvPr>
          <p:cNvGraphicFramePr>
            <a:graphicFrameLocks noGrp="1"/>
          </p:cNvGraphicFramePr>
          <p:nvPr/>
        </p:nvGraphicFramePr>
        <p:xfrm>
          <a:off x="7502116" y="1779124"/>
          <a:ext cx="1337084" cy="791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084">
                  <a:extLst>
                    <a:ext uri="{9D8B030D-6E8A-4147-A177-3AD203B41FA5}">
                      <a16:colId xmlns:a16="http://schemas.microsoft.com/office/drawing/2014/main" val="2751592100"/>
                    </a:ext>
                  </a:extLst>
                </a:gridCol>
              </a:tblGrid>
              <a:tr h="220358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rechec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5131218"/>
                  </a:ext>
                </a:extLst>
              </a:tr>
              <a:tr h="2663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e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051818"/>
                  </a:ext>
                </a:extLst>
              </a:tr>
              <a:tr h="2663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ost ver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445650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04548BB1-186D-441C-A7A1-B9696CFD25A0}"/>
              </a:ext>
            </a:extLst>
          </p:cNvPr>
          <p:cNvSpPr/>
          <p:nvPr/>
        </p:nvSpPr>
        <p:spPr>
          <a:xfrm>
            <a:off x="7791951" y="1468575"/>
            <a:ext cx="7232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i="1" dirty="0">
                <a:solidFill>
                  <a:schemeClr val="bg1"/>
                </a:solidFill>
              </a:rPr>
              <a:t>Jenkin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5ED4622-C26B-4B07-9D47-F6E40D763773}"/>
              </a:ext>
            </a:extLst>
          </p:cNvPr>
          <p:cNvCxnSpPr>
            <a:cxnSpLocks/>
          </p:cNvCxnSpPr>
          <p:nvPr/>
        </p:nvCxnSpPr>
        <p:spPr>
          <a:xfrm>
            <a:off x="8173844" y="2665141"/>
            <a:ext cx="0" cy="1358219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C154679F-5FAF-4F33-83C2-A22BF4DAB2BE}"/>
              </a:ext>
            </a:extLst>
          </p:cNvPr>
          <p:cNvSpPr/>
          <p:nvPr/>
        </p:nvSpPr>
        <p:spPr>
          <a:xfrm>
            <a:off x="7350512" y="4040920"/>
            <a:ext cx="1646663" cy="117347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25FBCF3-423E-4F3B-A28B-8007C50F74C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401" y="4237870"/>
            <a:ext cx="480155" cy="480155"/>
          </a:xfrm>
          <a:prstGeom prst="rect">
            <a:avLst/>
          </a:prstGeom>
        </p:spPr>
      </p:pic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BB1BCF91-ABFD-48F7-8170-F411F1A4A38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86" y="4222803"/>
            <a:ext cx="480155" cy="480155"/>
          </a:xfrm>
          <a:prstGeom prst="rect">
            <a:avLst/>
          </a:prstGeom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431C60A-D133-4B31-B351-469119D2FA87}"/>
              </a:ext>
            </a:extLst>
          </p:cNvPr>
          <p:cNvCxnSpPr>
            <a:cxnSpLocks/>
            <a:endCxn id="19" idx="3"/>
          </p:cNvCxnSpPr>
          <p:nvPr/>
        </p:nvCxnSpPr>
        <p:spPr>
          <a:xfrm flipH="1">
            <a:off x="5486677" y="3367111"/>
            <a:ext cx="2687168" cy="7299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64A38D7-5311-4753-859C-532B412B3A20}"/>
              </a:ext>
            </a:extLst>
          </p:cNvPr>
          <p:cNvSpPr txBox="1"/>
          <p:nvPr/>
        </p:nvSpPr>
        <p:spPr>
          <a:xfrm>
            <a:off x="6783261" y="3113696"/>
            <a:ext cx="5870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Failure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D99A40D6-D109-4FE4-B084-E380DD137729}"/>
              </a:ext>
            </a:extLst>
          </p:cNvPr>
          <p:cNvCxnSpPr>
            <a:cxnSpLocks/>
          </p:cNvCxnSpPr>
          <p:nvPr/>
        </p:nvCxnSpPr>
        <p:spPr>
          <a:xfrm flipH="1">
            <a:off x="3120391" y="3428071"/>
            <a:ext cx="98093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515F234-F1D4-4B3F-A755-BF43EBFB4933}"/>
              </a:ext>
            </a:extLst>
          </p:cNvPr>
          <p:cNvSpPr txBox="1"/>
          <p:nvPr/>
        </p:nvSpPr>
        <p:spPr>
          <a:xfrm>
            <a:off x="3175627" y="3166610"/>
            <a:ext cx="9621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Creating Issues</a:t>
            </a:r>
          </a:p>
        </p:txBody>
      </p:sp>
      <p:pic>
        <p:nvPicPr>
          <p:cNvPr id="56" name="Picture 55" descr="A close up of a sign&#10;&#10;Description automatically generated">
            <a:extLst>
              <a:ext uri="{FF2B5EF4-FFF2-40B4-BE49-F238E27FC236}">
                <a16:creationId xmlns:a16="http://schemas.microsoft.com/office/drawing/2014/main" id="{184C0A83-99B0-4139-8918-2E3F996CEC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765" y="2785807"/>
            <a:ext cx="1071562" cy="107156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73B35D4-37C6-4CA3-B299-BC8F207D311F}"/>
              </a:ext>
            </a:extLst>
          </p:cNvPr>
          <p:cNvSpPr txBox="1"/>
          <p:nvPr/>
        </p:nvSpPr>
        <p:spPr>
          <a:xfrm>
            <a:off x="7357046" y="5209152"/>
            <a:ext cx="14334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Deploy in Prod/Pre-Prod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3A9C1318-92AA-47A8-9BDD-B489FFB43085}"/>
              </a:ext>
            </a:extLst>
          </p:cNvPr>
          <p:cNvCxnSpPr>
            <a:stCxn id="56" idx="1"/>
            <a:endCxn id="24" idx="2"/>
          </p:cNvCxnSpPr>
          <p:nvPr/>
        </p:nvCxnSpPr>
        <p:spPr>
          <a:xfrm rot="10800000">
            <a:off x="657309" y="2772780"/>
            <a:ext cx="1351457" cy="548808"/>
          </a:xfrm>
          <a:prstGeom prst="bentConnector2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DBD5F3B7-E57B-4516-8104-92FD5157938D}"/>
              </a:ext>
            </a:extLst>
          </p:cNvPr>
          <p:cNvSpPr txBox="1"/>
          <p:nvPr/>
        </p:nvSpPr>
        <p:spPr>
          <a:xfrm>
            <a:off x="605214" y="3333297"/>
            <a:ext cx="11785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Email - Notific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6156E42-DB96-4294-842C-35E0404D2678}"/>
              </a:ext>
            </a:extLst>
          </p:cNvPr>
          <p:cNvSpPr txBox="1"/>
          <p:nvPr/>
        </p:nvSpPr>
        <p:spPr>
          <a:xfrm>
            <a:off x="8213382" y="2849952"/>
            <a:ext cx="63190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Success </a:t>
            </a:r>
          </a:p>
          <a:p>
            <a:pPr algn="ctr"/>
            <a:r>
              <a:rPr lang="en-US" sz="1000" i="1" dirty="0"/>
              <a:t>Without</a:t>
            </a:r>
          </a:p>
          <a:p>
            <a:pPr algn="ctr"/>
            <a:r>
              <a:rPr lang="en-US" sz="1000" i="1" dirty="0"/>
              <a:t>Failure </a:t>
            </a: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BEEABEFB-DD21-4C37-B6A9-24CC94197385}"/>
              </a:ext>
            </a:extLst>
          </p:cNvPr>
          <p:cNvCxnSpPr>
            <a:stCxn id="16" idx="3"/>
            <a:endCxn id="29" idx="0"/>
          </p:cNvCxnSpPr>
          <p:nvPr/>
        </p:nvCxnSpPr>
        <p:spPr>
          <a:xfrm>
            <a:off x="3427394" y="1220622"/>
            <a:ext cx="1612011" cy="620967"/>
          </a:xfrm>
          <a:prstGeom prst="bentConnector2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0AA38D23-AB45-4AA4-A006-DEA0D214D7A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361" y="4699740"/>
            <a:ext cx="508592" cy="467752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044EFB1-69B0-4E97-9645-440CF782DFED}"/>
              </a:ext>
            </a:extLst>
          </p:cNvPr>
          <p:cNvSpPr txBox="1"/>
          <p:nvPr/>
        </p:nvSpPr>
        <p:spPr>
          <a:xfrm>
            <a:off x="2942105" y="5181591"/>
            <a:ext cx="721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End-Users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BAA6957-E93E-49F7-87C5-473F6A046A4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521" y="3889983"/>
            <a:ext cx="471769" cy="433886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F1FC185-77DC-463E-A10A-4CA3C1A1AE33}"/>
              </a:ext>
            </a:extLst>
          </p:cNvPr>
          <p:cNvSpPr txBox="1"/>
          <p:nvPr/>
        </p:nvSpPr>
        <p:spPr>
          <a:xfrm>
            <a:off x="2612642" y="4272635"/>
            <a:ext cx="11950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Deployment Engineer</a:t>
            </a: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664D4AB4-D373-458C-B595-6DBAA61430CD}"/>
              </a:ext>
            </a:extLst>
          </p:cNvPr>
          <p:cNvCxnSpPr>
            <a:cxnSpLocks/>
          </p:cNvCxnSpPr>
          <p:nvPr/>
        </p:nvCxnSpPr>
        <p:spPr>
          <a:xfrm>
            <a:off x="5887963" y="4165275"/>
            <a:ext cx="1462549" cy="462383"/>
          </a:xfrm>
          <a:prstGeom prst="bentConnector3">
            <a:avLst/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 descr="A close up of a clock&#10;&#10;Description automatically generated">
            <a:extLst>
              <a:ext uri="{FF2B5EF4-FFF2-40B4-BE49-F238E27FC236}">
                <a16:creationId xmlns:a16="http://schemas.microsoft.com/office/drawing/2014/main" id="{046F7E07-A086-429F-A25F-E56A2C9F57B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4839" y="4518410"/>
            <a:ext cx="778414" cy="889616"/>
          </a:xfrm>
          <a:prstGeom prst="rect">
            <a:avLst/>
          </a:prstGeom>
        </p:spPr>
      </p:pic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9DA5239E-BF38-4625-AB97-90D76113234E}"/>
              </a:ext>
            </a:extLst>
          </p:cNvPr>
          <p:cNvCxnSpPr>
            <a:endCxn id="52" idx="3"/>
          </p:cNvCxnSpPr>
          <p:nvPr/>
        </p:nvCxnSpPr>
        <p:spPr>
          <a:xfrm rot="10800000" flipV="1">
            <a:off x="5243254" y="4627658"/>
            <a:ext cx="2107259" cy="335560"/>
          </a:xfrm>
          <a:prstGeom prst="bentConnector3">
            <a:avLst>
              <a:gd name="adj1" fmla="val 35355"/>
            </a:avLst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F9D4ADD7-8866-46C6-9CC9-39D813C29009}"/>
              </a:ext>
            </a:extLst>
          </p:cNvPr>
          <p:cNvCxnSpPr>
            <a:cxnSpLocks/>
          </p:cNvCxnSpPr>
          <p:nvPr/>
        </p:nvCxnSpPr>
        <p:spPr>
          <a:xfrm>
            <a:off x="3383280" y="4106926"/>
            <a:ext cx="650954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D1FC719-FF07-4D45-8FDD-494ABAC47BC0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3514310" y="4909339"/>
            <a:ext cx="95052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204E81EE-5449-4662-875D-34142BEF886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309" y="3941482"/>
            <a:ext cx="1678789" cy="362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4437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CD086F0-9D85-496C-8F09-BB43CE404D7F}"/>
              </a:ext>
            </a:extLst>
          </p:cNvPr>
          <p:cNvSpPr/>
          <p:nvPr/>
        </p:nvSpPr>
        <p:spPr>
          <a:xfrm>
            <a:off x="194310" y="796274"/>
            <a:ext cx="4206240" cy="4267216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C99E12-9B40-491B-A305-9FEF5FDD7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 Used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3ED9E-62A1-47F2-BD39-34CC5E90E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715" y="2716877"/>
            <a:ext cx="1193587" cy="49732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3669A0-8CBD-4079-92C4-A13AF30981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2706" y="2177334"/>
            <a:ext cx="1287992" cy="64399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25B2C65-6028-4116-A70B-B010C043C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962" y="1438362"/>
            <a:ext cx="2009443" cy="64773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51E9D2A-FBD5-431B-8A70-53A3497D4C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851" y="3572811"/>
            <a:ext cx="2194847" cy="73919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4380596-AE13-434F-9D34-08F721E36D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76" y="4270994"/>
            <a:ext cx="1984464" cy="647732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631F36A-D670-4ED7-9F66-5AEDBEBD2C21}"/>
              </a:ext>
            </a:extLst>
          </p:cNvPr>
          <p:cNvSpPr/>
          <p:nvPr/>
        </p:nvSpPr>
        <p:spPr>
          <a:xfrm>
            <a:off x="4608413" y="825190"/>
            <a:ext cx="4206240" cy="42383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Jenkins is deployed through Linux OS which manages entire CICD work fl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JIRA Server instance used as Lifecyle management tool to align user stories &amp; log issu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 chosen for source code management reposito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ocker container is used instead of VMs to containerize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Portainer</a:t>
            </a:r>
            <a:r>
              <a:rPr lang="en-US" sz="1400" dirty="0"/>
              <a:t> is used to orchestrate the Docker contain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r>
              <a:rPr lang="en-US" sz="1400" b="1" i="1" dirty="0"/>
              <a:t>Note: All the above picked tools are open-source except JIRA with 30 days free server trail pack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8995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16D30A89-4E5D-4967-8D7A-4724FBB7075F}"/>
              </a:ext>
            </a:extLst>
          </p:cNvPr>
          <p:cNvSpPr/>
          <p:nvPr/>
        </p:nvSpPr>
        <p:spPr>
          <a:xfrm>
            <a:off x="7451373" y="1530503"/>
            <a:ext cx="1431094" cy="11346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C8F44-9069-4D23-BD1C-4E9478107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79" y="119422"/>
            <a:ext cx="6876584" cy="497328"/>
          </a:xfrm>
        </p:spPr>
        <p:txBody>
          <a:bodyPr/>
          <a:lstStyle/>
          <a:p>
            <a:r>
              <a:rPr lang="en-US" dirty="0"/>
              <a:t>Demo</a:t>
            </a:r>
            <a:endParaRPr lang="en-GB" b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FBCFDFA-4878-4C7F-93EB-FAA0CA4A6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1331" y="3105432"/>
            <a:ext cx="1385346" cy="5379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F2061BE-40DC-4895-BD83-78336737C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8501" y="4773879"/>
            <a:ext cx="1075934" cy="3623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AB6B62C-6F7E-41FC-89F6-C9C1816A08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925412"/>
            <a:ext cx="657922" cy="60509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016FA10-247D-4901-B013-F0333BD53C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1841589"/>
            <a:ext cx="657922" cy="6050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0A74A4-8152-4361-AF59-0F9D568083A3}"/>
              </a:ext>
            </a:extLst>
          </p:cNvPr>
          <p:cNvSpPr txBox="1"/>
          <p:nvPr/>
        </p:nvSpPr>
        <p:spPr>
          <a:xfrm>
            <a:off x="220347" y="1468575"/>
            <a:ext cx="7328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Develop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EB652A-5227-4FB4-971A-FE0D85F97E1C}"/>
              </a:ext>
            </a:extLst>
          </p:cNvPr>
          <p:cNvSpPr txBox="1"/>
          <p:nvPr/>
        </p:nvSpPr>
        <p:spPr>
          <a:xfrm>
            <a:off x="207505" y="2372670"/>
            <a:ext cx="899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Deployment  </a:t>
            </a:r>
          </a:p>
          <a:p>
            <a:pPr algn="ctr"/>
            <a:r>
              <a:rPr lang="en-US" sz="1000" i="1" dirty="0"/>
              <a:t>Engineer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7641F2E-27A5-4DEE-88CC-87BD9BC94CFE}"/>
              </a:ext>
            </a:extLst>
          </p:cNvPr>
          <p:cNvCxnSpPr>
            <a:cxnSpLocks/>
          </p:cNvCxnSpPr>
          <p:nvPr/>
        </p:nvCxnSpPr>
        <p:spPr>
          <a:xfrm flipV="1">
            <a:off x="929270" y="1220622"/>
            <a:ext cx="874502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39E8AF9-6BB8-4CBF-83F0-9A5BAA92C81C}"/>
              </a:ext>
            </a:extLst>
          </p:cNvPr>
          <p:cNvCxnSpPr>
            <a:cxnSpLocks/>
          </p:cNvCxnSpPr>
          <p:nvPr/>
        </p:nvCxnSpPr>
        <p:spPr>
          <a:xfrm>
            <a:off x="884666" y="2167858"/>
            <a:ext cx="1079495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A close up of a logo&#10;&#10;Description automatically generated">
            <a:extLst>
              <a:ext uri="{FF2B5EF4-FFF2-40B4-BE49-F238E27FC236}">
                <a16:creationId xmlns:a16="http://schemas.microsoft.com/office/drawing/2014/main" id="{422CAB14-5F37-4073-90BA-166C714C134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330" y="1841589"/>
            <a:ext cx="1876150" cy="60338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178DBA6-E562-4675-B654-DE2F6B24511F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2691852" y="2147856"/>
            <a:ext cx="1378345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CC0C71E-D6BF-405A-9C58-822948F299CA}"/>
              </a:ext>
            </a:extLst>
          </p:cNvPr>
          <p:cNvCxnSpPr>
            <a:cxnSpLocks/>
          </p:cNvCxnSpPr>
          <p:nvPr/>
        </p:nvCxnSpPr>
        <p:spPr>
          <a:xfrm>
            <a:off x="6001169" y="2139251"/>
            <a:ext cx="1479762" cy="10905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125627F-47A4-4B15-B46D-D20E19697585}"/>
              </a:ext>
            </a:extLst>
          </p:cNvPr>
          <p:cNvSpPr txBox="1"/>
          <p:nvPr/>
        </p:nvSpPr>
        <p:spPr>
          <a:xfrm>
            <a:off x="6059623" y="1928473"/>
            <a:ext cx="13628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Precheck, Deployment </a:t>
            </a:r>
          </a:p>
          <a:p>
            <a:pPr algn="ctr"/>
            <a:r>
              <a:rPr lang="en-US" sz="1000" i="1" dirty="0"/>
              <a:t>&amp; Post validation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9DC6D42-0064-44F5-8EF4-43EAB66816E1}"/>
              </a:ext>
            </a:extLst>
          </p:cNvPr>
          <p:cNvGraphicFramePr>
            <a:graphicFrameLocks noGrp="1"/>
          </p:cNvGraphicFramePr>
          <p:nvPr/>
        </p:nvGraphicFramePr>
        <p:xfrm>
          <a:off x="7502116" y="1779124"/>
          <a:ext cx="1337084" cy="791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084">
                  <a:extLst>
                    <a:ext uri="{9D8B030D-6E8A-4147-A177-3AD203B41FA5}">
                      <a16:colId xmlns:a16="http://schemas.microsoft.com/office/drawing/2014/main" val="2751592100"/>
                    </a:ext>
                  </a:extLst>
                </a:gridCol>
              </a:tblGrid>
              <a:tr h="220358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rechec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5131218"/>
                  </a:ext>
                </a:extLst>
              </a:tr>
              <a:tr h="2663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De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051818"/>
                  </a:ext>
                </a:extLst>
              </a:tr>
              <a:tr h="26637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ost ver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445650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04548BB1-186D-441C-A7A1-B9696CFD25A0}"/>
              </a:ext>
            </a:extLst>
          </p:cNvPr>
          <p:cNvSpPr/>
          <p:nvPr/>
        </p:nvSpPr>
        <p:spPr>
          <a:xfrm>
            <a:off x="7791951" y="1468575"/>
            <a:ext cx="7232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i="1" dirty="0">
                <a:solidFill>
                  <a:schemeClr val="bg1"/>
                </a:solidFill>
              </a:rPr>
              <a:t>Jenkin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5ED4622-C26B-4B07-9D47-F6E40D763773}"/>
              </a:ext>
            </a:extLst>
          </p:cNvPr>
          <p:cNvCxnSpPr>
            <a:cxnSpLocks/>
          </p:cNvCxnSpPr>
          <p:nvPr/>
        </p:nvCxnSpPr>
        <p:spPr>
          <a:xfrm>
            <a:off x="8173844" y="2665141"/>
            <a:ext cx="0" cy="1358219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C154679F-5FAF-4F33-83C2-A22BF4DAB2BE}"/>
              </a:ext>
            </a:extLst>
          </p:cNvPr>
          <p:cNvSpPr/>
          <p:nvPr/>
        </p:nvSpPr>
        <p:spPr>
          <a:xfrm>
            <a:off x="7350512" y="4040920"/>
            <a:ext cx="1646663" cy="117347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25FBCF3-423E-4F3B-A28B-8007C50F74C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401" y="4237870"/>
            <a:ext cx="480155" cy="480155"/>
          </a:xfrm>
          <a:prstGeom prst="rect">
            <a:avLst/>
          </a:prstGeom>
        </p:spPr>
      </p:pic>
      <p:pic>
        <p:nvPicPr>
          <p:cNvPr id="47" name="Picture 46" descr="A close up of a sign&#10;&#10;Description automatically generated">
            <a:extLst>
              <a:ext uri="{FF2B5EF4-FFF2-40B4-BE49-F238E27FC236}">
                <a16:creationId xmlns:a16="http://schemas.microsoft.com/office/drawing/2014/main" id="{BB1BCF91-ABFD-48F7-8170-F411F1A4A3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86" y="4222803"/>
            <a:ext cx="480155" cy="480155"/>
          </a:xfrm>
          <a:prstGeom prst="rect">
            <a:avLst/>
          </a:prstGeom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431C60A-D133-4B31-B351-469119D2FA87}"/>
              </a:ext>
            </a:extLst>
          </p:cNvPr>
          <p:cNvCxnSpPr>
            <a:cxnSpLocks/>
            <a:endCxn id="19" idx="3"/>
          </p:cNvCxnSpPr>
          <p:nvPr/>
        </p:nvCxnSpPr>
        <p:spPr>
          <a:xfrm flipH="1">
            <a:off x="5486677" y="3367111"/>
            <a:ext cx="2687168" cy="7299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64A38D7-5311-4753-859C-532B412B3A20}"/>
              </a:ext>
            </a:extLst>
          </p:cNvPr>
          <p:cNvSpPr txBox="1"/>
          <p:nvPr/>
        </p:nvSpPr>
        <p:spPr>
          <a:xfrm>
            <a:off x="6783261" y="3113696"/>
            <a:ext cx="5870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Failure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D99A40D6-D109-4FE4-B084-E380DD137729}"/>
              </a:ext>
            </a:extLst>
          </p:cNvPr>
          <p:cNvCxnSpPr>
            <a:cxnSpLocks/>
          </p:cNvCxnSpPr>
          <p:nvPr/>
        </p:nvCxnSpPr>
        <p:spPr>
          <a:xfrm flipH="1">
            <a:off x="3120391" y="3428071"/>
            <a:ext cx="98093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515F234-F1D4-4B3F-A755-BF43EBFB4933}"/>
              </a:ext>
            </a:extLst>
          </p:cNvPr>
          <p:cNvSpPr txBox="1"/>
          <p:nvPr/>
        </p:nvSpPr>
        <p:spPr>
          <a:xfrm>
            <a:off x="3175627" y="3166610"/>
            <a:ext cx="9621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Creating Issues</a:t>
            </a:r>
          </a:p>
        </p:txBody>
      </p:sp>
      <p:pic>
        <p:nvPicPr>
          <p:cNvPr id="56" name="Picture 55" descr="A close up of a sign&#10;&#10;Description automatically generated">
            <a:extLst>
              <a:ext uri="{FF2B5EF4-FFF2-40B4-BE49-F238E27FC236}">
                <a16:creationId xmlns:a16="http://schemas.microsoft.com/office/drawing/2014/main" id="{184C0A83-99B0-4139-8918-2E3F996CEC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765" y="2785807"/>
            <a:ext cx="1071562" cy="107156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573B35D4-37C6-4CA3-B299-BC8F207D311F}"/>
              </a:ext>
            </a:extLst>
          </p:cNvPr>
          <p:cNvSpPr txBox="1"/>
          <p:nvPr/>
        </p:nvSpPr>
        <p:spPr>
          <a:xfrm>
            <a:off x="7357046" y="5209152"/>
            <a:ext cx="14334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Deploy in Prod/Pre-Prod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3A9C1318-92AA-47A8-9BDD-B489FFB43085}"/>
              </a:ext>
            </a:extLst>
          </p:cNvPr>
          <p:cNvCxnSpPr>
            <a:stCxn id="56" idx="1"/>
            <a:endCxn id="24" idx="2"/>
          </p:cNvCxnSpPr>
          <p:nvPr/>
        </p:nvCxnSpPr>
        <p:spPr>
          <a:xfrm rot="10800000">
            <a:off x="657309" y="2772780"/>
            <a:ext cx="1351457" cy="548808"/>
          </a:xfrm>
          <a:prstGeom prst="bentConnector2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DBD5F3B7-E57B-4516-8104-92FD5157938D}"/>
              </a:ext>
            </a:extLst>
          </p:cNvPr>
          <p:cNvSpPr txBox="1"/>
          <p:nvPr/>
        </p:nvSpPr>
        <p:spPr>
          <a:xfrm>
            <a:off x="605214" y="3333297"/>
            <a:ext cx="11785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Email - Notific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6156E42-DB96-4294-842C-35E0404D2678}"/>
              </a:ext>
            </a:extLst>
          </p:cNvPr>
          <p:cNvSpPr txBox="1"/>
          <p:nvPr/>
        </p:nvSpPr>
        <p:spPr>
          <a:xfrm>
            <a:off x="8213382" y="2849952"/>
            <a:ext cx="63190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Success </a:t>
            </a:r>
          </a:p>
          <a:p>
            <a:pPr algn="ctr"/>
            <a:r>
              <a:rPr lang="en-US" sz="1000" i="1" dirty="0"/>
              <a:t>Without</a:t>
            </a:r>
          </a:p>
          <a:p>
            <a:pPr algn="ctr"/>
            <a:r>
              <a:rPr lang="en-US" sz="1000" i="1" dirty="0"/>
              <a:t>Failure </a:t>
            </a: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BEEABEFB-DD21-4C37-B6A9-24CC94197385}"/>
              </a:ext>
            </a:extLst>
          </p:cNvPr>
          <p:cNvCxnSpPr>
            <a:cxnSpLocks/>
            <a:stCxn id="35" idx="3"/>
            <a:endCxn id="29" idx="0"/>
          </p:cNvCxnSpPr>
          <p:nvPr/>
        </p:nvCxnSpPr>
        <p:spPr>
          <a:xfrm>
            <a:off x="2977330" y="1227957"/>
            <a:ext cx="2062075" cy="613632"/>
          </a:xfrm>
          <a:prstGeom prst="bentConnector2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9CD4A650-0EE4-4505-8EAC-EBD9714BF9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83743" y="979293"/>
            <a:ext cx="1193587" cy="497328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019C247D-D3D6-4093-BE8B-D6EBBDE06FEA}"/>
              </a:ext>
            </a:extLst>
          </p:cNvPr>
          <p:cNvSpPr txBox="1"/>
          <p:nvPr/>
        </p:nvSpPr>
        <p:spPr>
          <a:xfrm>
            <a:off x="1905363" y="1673292"/>
            <a:ext cx="8050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i="1" dirty="0"/>
              <a:t>Local Server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6CD35E0-76FC-4D89-9B30-8FA0B9A8C34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765" y="1845860"/>
            <a:ext cx="683087" cy="68308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A8C8355-88C8-4271-94D7-B78718E3E52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244" y="3875803"/>
            <a:ext cx="1773719" cy="5789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9EEBFEA-530B-4934-B5D5-37659A33A8D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361" y="4699740"/>
            <a:ext cx="508592" cy="46775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C23647A9-69C0-4181-BF4C-6B77185BFC63}"/>
              </a:ext>
            </a:extLst>
          </p:cNvPr>
          <p:cNvSpPr txBox="1"/>
          <p:nvPr/>
        </p:nvSpPr>
        <p:spPr>
          <a:xfrm>
            <a:off x="2942105" y="5181591"/>
            <a:ext cx="721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End-Users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504160E0-B740-4D15-816B-591AA43B4F9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521" y="3889983"/>
            <a:ext cx="471769" cy="433886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826EE09F-2BDC-4876-A9FC-3836F0342788}"/>
              </a:ext>
            </a:extLst>
          </p:cNvPr>
          <p:cNvSpPr txBox="1"/>
          <p:nvPr/>
        </p:nvSpPr>
        <p:spPr>
          <a:xfrm>
            <a:off x="2612642" y="4272635"/>
            <a:ext cx="11950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/>
              <a:t>Deployment Engineer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0901FFFE-D8BF-449E-A10A-86DF10F5B411}"/>
              </a:ext>
            </a:extLst>
          </p:cNvPr>
          <p:cNvCxnSpPr>
            <a:stCxn id="18" idx="3"/>
            <a:endCxn id="37" idx="1"/>
          </p:cNvCxnSpPr>
          <p:nvPr/>
        </p:nvCxnSpPr>
        <p:spPr>
          <a:xfrm>
            <a:off x="5887963" y="4165275"/>
            <a:ext cx="1462549" cy="462383"/>
          </a:xfrm>
          <a:prstGeom prst="bentConnector3">
            <a:avLst/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 descr="A close up of a clock&#10;&#10;Description automatically generated">
            <a:extLst>
              <a:ext uri="{FF2B5EF4-FFF2-40B4-BE49-F238E27FC236}">
                <a16:creationId xmlns:a16="http://schemas.microsoft.com/office/drawing/2014/main" id="{9DAAA9D8-21AD-42B4-B20A-641FAE90067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4839" y="4518410"/>
            <a:ext cx="778414" cy="889616"/>
          </a:xfrm>
          <a:prstGeom prst="rect">
            <a:avLst/>
          </a:prstGeom>
        </p:spPr>
      </p:pic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E46118D0-92A3-47D2-A40B-368FEC2518AB}"/>
              </a:ext>
            </a:extLst>
          </p:cNvPr>
          <p:cNvCxnSpPr>
            <a:stCxn id="37" idx="1"/>
            <a:endCxn id="41" idx="3"/>
          </p:cNvCxnSpPr>
          <p:nvPr/>
        </p:nvCxnSpPr>
        <p:spPr>
          <a:xfrm rot="10800000" flipV="1">
            <a:off x="5243254" y="4627658"/>
            <a:ext cx="2107259" cy="335560"/>
          </a:xfrm>
          <a:prstGeom prst="bentConnector3">
            <a:avLst>
              <a:gd name="adj1" fmla="val 35355"/>
            </a:avLst>
          </a:prstGeom>
          <a:ln w="222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9270952-B2B8-46C5-9CF0-D094ABDBB28C}"/>
              </a:ext>
            </a:extLst>
          </p:cNvPr>
          <p:cNvCxnSpPr>
            <a:cxnSpLocks/>
          </p:cNvCxnSpPr>
          <p:nvPr/>
        </p:nvCxnSpPr>
        <p:spPr>
          <a:xfrm>
            <a:off x="3383280" y="4106926"/>
            <a:ext cx="650954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BE4559D1-373B-423B-ACDA-74D1F96ADA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3514310" y="4909339"/>
            <a:ext cx="950529" cy="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1638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1030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BiA._ekCTBic.rNfU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oN4ePLwEejLUfBpwaH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4r4Fd7k2hEvUqfZKJ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BiA._ekCTBic.rNfU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oN4ePLwEejLUfBpwaH2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oN4ePLwEejLUfBpwaH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4r4Fd7k2hEvUqfZKJ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BiA._ekCTBic.rNfU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oN4ePLwEejLUfBpwaH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4r4Fd7k2hEvUqfZKJ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BiA._ekCTBic.rNfU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4r4Fd7k2hEvUqfZKJ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BiA._ekCTBic.rNfU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oN4ePLwEejLUfBpwaH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4r4Fd7k2hEvUqfZKJKg"/>
</p:tagLst>
</file>

<file path=ppt/theme/theme1.xml><?xml version="1.0" encoding="utf-8"?>
<a:theme xmlns:a="http://schemas.openxmlformats.org/drawingml/2006/main" name="Liberty Global">
  <a:themeElements>
    <a:clrScheme name="Custom 1">
      <a:dk1>
        <a:srgbClr val="000000"/>
      </a:dk1>
      <a:lt1>
        <a:srgbClr val="FFFFFF"/>
      </a:lt1>
      <a:dk2>
        <a:srgbClr val="6F6B6C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4BBECF"/>
      </a:accent6>
      <a:hlink>
        <a:srgbClr val="CD1719"/>
      </a:hlink>
      <a:folHlink>
        <a:srgbClr val="EA5B0C"/>
      </a:folHlink>
    </a:clrScheme>
    <a:fontScheme name="Custom 1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berty Global" id="{37E8B0ED-C682-41D6-8AC7-8EBD8CD6B777}" vid="{B5919322-1FF9-4170-89BE-5623552DB1DC}"/>
    </a:ext>
  </a:extLst>
</a:theme>
</file>

<file path=ppt/theme/theme2.xml><?xml version="1.0" encoding="utf-8"?>
<a:theme xmlns:a="http://schemas.openxmlformats.org/drawingml/2006/main" name="Liberty Global Letter Purple-Red">
  <a:themeElements>
    <a:clrScheme name="Custom 1">
      <a:dk1>
        <a:srgbClr val="000000"/>
      </a:dk1>
      <a:lt1>
        <a:srgbClr val="FFFFFF"/>
      </a:lt1>
      <a:dk2>
        <a:srgbClr val="6F6B6C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4BBECF"/>
      </a:accent6>
      <a:hlink>
        <a:srgbClr val="CD1719"/>
      </a:hlink>
      <a:folHlink>
        <a:srgbClr val="EA5B0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berty_Global_A4.potx [Read-Only]" id="{00A16B24-01E5-4C5A-BFA5-427B4136C267}" vid="{4146DF7F-464F-499F-9716-67DF10A70A57}"/>
    </a:ext>
  </a:extLst>
</a:theme>
</file>

<file path=ppt/theme/theme3.xml><?xml version="1.0" encoding="utf-8"?>
<a:theme xmlns:a="http://schemas.openxmlformats.org/drawingml/2006/main" name="Liberty Global Letter Red-Orange">
  <a:themeElements>
    <a:clrScheme name="Custom 1">
      <a:dk1>
        <a:srgbClr val="000000"/>
      </a:dk1>
      <a:lt1>
        <a:srgbClr val="FFFFFF"/>
      </a:lt1>
      <a:dk2>
        <a:srgbClr val="6F6B6C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4BBECF"/>
      </a:accent6>
      <a:hlink>
        <a:srgbClr val="CD1719"/>
      </a:hlink>
      <a:folHlink>
        <a:srgbClr val="EA5B0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berty_Global_A4.potx [Read-Only]" id="{00A16B24-01E5-4C5A-BFA5-427B4136C267}" vid="{7946318B-557A-4907-93ED-13D5B49A31F5}"/>
    </a:ext>
  </a:extLst>
</a:theme>
</file>

<file path=ppt/theme/theme4.xml><?xml version="1.0" encoding="utf-8"?>
<a:theme xmlns:a="http://schemas.openxmlformats.org/drawingml/2006/main" name="Liberty Global Letter Light Blue-Dark Blue">
  <a:themeElements>
    <a:clrScheme name="Custom 1">
      <a:dk1>
        <a:srgbClr val="000000"/>
      </a:dk1>
      <a:lt1>
        <a:srgbClr val="FFFFFF"/>
      </a:lt1>
      <a:dk2>
        <a:srgbClr val="6F6B6C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4BBECF"/>
      </a:accent6>
      <a:hlink>
        <a:srgbClr val="CD1719"/>
      </a:hlink>
      <a:folHlink>
        <a:srgbClr val="EA5B0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berty_Global_A4.potx [Read-Only]" id="{00A16B24-01E5-4C5A-BFA5-427B4136C267}" vid="{406117BA-11B4-4D59-BF4B-74FEC3208D96}"/>
    </a:ext>
  </a:extLst>
</a:theme>
</file>

<file path=ppt/theme/theme5.xml><?xml version="1.0" encoding="utf-8"?>
<a:theme xmlns:a="http://schemas.openxmlformats.org/drawingml/2006/main" name="Liberty Global Letter Green-Light Blue">
  <a:themeElements>
    <a:clrScheme name="Custom 1">
      <a:dk1>
        <a:srgbClr val="000000"/>
      </a:dk1>
      <a:lt1>
        <a:srgbClr val="FFFFFF"/>
      </a:lt1>
      <a:dk2>
        <a:srgbClr val="6F6B6C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4BBECF"/>
      </a:accent6>
      <a:hlink>
        <a:srgbClr val="CD1719"/>
      </a:hlink>
      <a:folHlink>
        <a:srgbClr val="EA5B0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tIns="90000" bIns="90000"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berty_Global_A4.potx [Read-Only]" id="{00A16B24-01E5-4C5A-BFA5-427B4136C267}" vid="{524C68BB-FC93-4BE8-A26A-0AEEF6992598}"/>
    </a:ext>
  </a:extLst>
</a:theme>
</file>

<file path=ppt/theme/theme6.xml><?xml version="1.0" encoding="utf-8"?>
<a:theme xmlns:a="http://schemas.openxmlformats.org/drawingml/2006/main" name="Prodapt - New Corporate Template - Nov 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odapt - New Corporate Template - Nov 2016" id="{782A7F4C-B131-48E7-803A-FDB6942789DE}" vid="{A0924DD7-041A-4574-B445-FA1AD6B684DB}"/>
    </a:ext>
  </a:extLst>
</a:theme>
</file>

<file path=ppt/theme/theme7.xml><?xml version="1.0" encoding="utf-8"?>
<a:theme xmlns:a="http://schemas.openxmlformats.org/drawingml/2006/main" name="1_Prodapt - New Corporate Template - Nov 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berty Global</Template>
  <TotalTime>1180</TotalTime>
  <Words>394</Words>
  <Application>Microsoft Office PowerPoint</Application>
  <PresentationFormat>On-screen Show (16:10)</PresentationFormat>
  <Paragraphs>119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orbel</vt:lpstr>
      <vt:lpstr>Wingdings</vt:lpstr>
      <vt:lpstr>Liberty Global</vt:lpstr>
      <vt:lpstr>Liberty Global Letter Purple-Red</vt:lpstr>
      <vt:lpstr>Liberty Global Letter Red-Orange</vt:lpstr>
      <vt:lpstr>Liberty Global Letter Light Blue-Dark Blue</vt:lpstr>
      <vt:lpstr>Liberty Global Letter Green-Light Blue</vt:lpstr>
      <vt:lpstr>Prodapt - New Corporate Template - Nov 2016</vt:lpstr>
      <vt:lpstr>1_Prodapt - New Corporate Template - Nov 2016</vt:lpstr>
      <vt:lpstr>think-cell Slide</vt:lpstr>
      <vt:lpstr>PowerPoint Presentation</vt:lpstr>
      <vt:lpstr>Problem Statement</vt:lpstr>
      <vt:lpstr>Current Vs Proposed Solution</vt:lpstr>
      <vt:lpstr>Proposed - Solution Design</vt:lpstr>
      <vt:lpstr>Tools Used </vt:lpstr>
      <vt:lpstr>Dem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va subbaiyan</dc:creator>
  <cp:keywords>Siva</cp:keywords>
  <cp:lastModifiedBy>Jagadeesh G</cp:lastModifiedBy>
  <cp:revision>304</cp:revision>
  <dcterms:created xsi:type="dcterms:W3CDTF">2017-12-28T07:23:08Z</dcterms:created>
  <dcterms:modified xsi:type="dcterms:W3CDTF">2019-01-05T08:02:52Z</dcterms:modified>
</cp:coreProperties>
</file>